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1"/>
  </p:notesMasterIdLst>
  <p:sldIdLst>
    <p:sldId id="4309" r:id="rId3"/>
    <p:sldId id="3347" r:id="rId4"/>
    <p:sldId id="4334" r:id="rId5"/>
    <p:sldId id="4351" r:id="rId6"/>
    <p:sldId id="4352" r:id="rId7"/>
    <p:sldId id="3351" r:id="rId8"/>
    <p:sldId id="4304" r:id="rId9"/>
    <p:sldId id="4344" r:id="rId10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CC00CC"/>
    <a:srgbClr val="CC99FF"/>
    <a:srgbClr val="FFCC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D95816-E488-4F14-931D-81BF5229F16B}" v="2" dt="2022-05-25T02:37:06.1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 snapToGrid="0">
      <p:cViewPr varScale="1">
        <p:scale>
          <a:sx n="96" d="100"/>
          <a:sy n="96" d="100"/>
        </p:scale>
        <p:origin x="49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56D7D7-0535-432F-9EB7-E3D0FDEB4B3F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F2C9B-B9F0-45CD-9151-E7BA139812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27525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567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64c95206a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64c95206a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100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64c95206a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64c95206a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6131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64c95206a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64c95206a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525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64c95206a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64c95206a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14354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64c95206a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Google Shape;88;g64c95206a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096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646C39A-3907-48CB-8948-21D97491E8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D9D55DF-9AD2-4E34-8A73-B02246021E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B90DE5E-15C7-48FD-B914-24280B992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98D5B9C-403E-4E9E-B38A-8D22C0368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9A21A6C-B7D1-4EAC-A01E-61C449560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5205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A11A675-68B8-47BE-BEB5-5364E63CE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2F81624-9FC9-45FC-BE8B-7AD9F10E76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2660952-05EE-4D21-B696-1FDF9A8A1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6F533883-E613-401B-96EB-E80B45A34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046BD3B-3412-4BA6-A962-40D3DF4A9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79441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71E96C30-14D1-42D5-86EF-FECCB6C487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46369AAD-D8EE-4A20-A641-8D865A491F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B93E85D-C20A-40F3-9753-45C9A6BE5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4A0B7DF-5036-413F-9C5E-574157CAE6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AB15400-E1A5-4DA7-A8E7-E93157C02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7243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3395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7846" y="-189186"/>
            <a:ext cx="12545346" cy="72363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2117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14177" y="0"/>
            <a:ext cx="7177823" cy="60928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270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7177823" cy="60928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2675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5D27EA52-8FF4-EE46-BAEB-4A88ECCFC4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95408" y="2181037"/>
            <a:ext cx="2169337" cy="216876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FC71D8B5-1FEA-E04E-8749-016B5B47095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11333" y="2181037"/>
            <a:ext cx="2169337" cy="216876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53EAF254-5448-8F4D-AD88-E0D20D5AD5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7253" y="2181037"/>
            <a:ext cx="2169337" cy="216876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3523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5D27EA52-8FF4-EE46-BAEB-4A88ECCFC4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201080" y="1540766"/>
            <a:ext cx="1649174" cy="164874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1A2751F6-0B63-C240-A498-2A07A12523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69595" y="1540766"/>
            <a:ext cx="1649174" cy="164874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0569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5D27EA52-8FF4-EE46-BAEB-4A88ECCFC4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730106" y="4112923"/>
            <a:ext cx="2012917" cy="201239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E9B8F618-5533-A44C-9A5E-7B20A1A258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43023" y="2463421"/>
            <a:ext cx="2012917" cy="201239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3274D65-5CB5-0D4B-88CA-774BED37DE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55941" y="813919"/>
            <a:ext cx="2012917" cy="201239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3135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FF92B6B5-C05A-9A49-9B8F-854A66BBB0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05839" y="299466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E174412E-E6D5-D148-985E-22D841E8335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50927" y="299466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7E06FEBE-F416-FA44-A25A-D82B2D8F339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96015" y="299466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85C8B982-C3B3-7341-B40B-2EC5DAD639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441103" y="299466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6F6F1439-379A-2748-93D0-EF09257E394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05839" y="417680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30542E3-7D8A-484E-824A-9596A1824B8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50927" y="417680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8E889694-DD0A-6442-B3F9-4CC4D5A59E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96015" y="417680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EB75BE7E-29E5-D745-935C-8E9C55CFC9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441103" y="4176800"/>
            <a:ext cx="1545058" cy="640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832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3ECB75-C482-44B1-BF5F-B63164EC0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3FF1921-F856-49A1-963A-3F08CB7802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54270F4-8AB2-484E-8E16-EBBCAB599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62A9F33F-A988-4303-AED3-636DFECF3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DD82EC8-B4ED-4CA1-9811-8CDCAD77F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905900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B76E297F-3914-4347-987C-C65CAF1473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5827" y="606669"/>
            <a:ext cx="3539988" cy="27117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E2D603A6-D7D7-014A-9550-05247398B5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6006" y="606669"/>
            <a:ext cx="3539988" cy="27117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7DC3CA93-CD95-0448-8597-AA5277310D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86185" y="606669"/>
            <a:ext cx="3539988" cy="27117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2345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7DC3CA93-CD95-0448-8597-AA5277310D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6734" y="606669"/>
            <a:ext cx="5444846" cy="2769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81C5117B-286F-324D-A5F2-518F14DDD6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0421" y="3481462"/>
            <a:ext cx="5444846" cy="2769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6506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7DC3CA93-CD95-0448-8597-AA5277310D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403" y="1728144"/>
            <a:ext cx="10167196" cy="34917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2936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7DC3CA93-CD95-0448-8597-AA5277310D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 rot="1699542">
            <a:off x="2307217" y="3335057"/>
            <a:ext cx="3037907" cy="53600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C54BFC19-35C7-424E-81A7-567EA52D52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 rot="1699542">
            <a:off x="6803876" y="3335057"/>
            <a:ext cx="3037907" cy="53600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7056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A58F118-AD44-2644-91E1-69E9B17E7E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7846" y="-189186"/>
            <a:ext cx="12545346" cy="44478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E43DC65-766A-AE4F-B50E-2A0E93A1859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529631" y="1274400"/>
            <a:ext cx="3238334" cy="43627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538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E43DC65-766A-AE4F-B50E-2A0E93A1859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376827" y="1802925"/>
            <a:ext cx="3762685" cy="23568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0B2ABAC5-1B5E-4843-A328-05A424B20F5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03070" y="1802925"/>
            <a:ext cx="3762685" cy="23568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75BE1CB4-05F2-2D46-A779-856CD0B51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39948" y="2441586"/>
            <a:ext cx="3762685" cy="23568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617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 userDrawn="1"/>
        </p:nvSpPr>
        <p:spPr>
          <a:xfrm>
            <a:off x="11423915" y="6492877"/>
            <a:ext cx="768085" cy="36512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fld id="{5FB837A6-7C55-4832-9375-068F3190A347}" type="slidenum">
              <a:rPr kumimoji="1" lang="ja-JP" altLang="en-US" sz="1100" smtClean="0">
                <a:solidFill>
                  <a:schemeClr val="tx1">
                    <a:lumMod val="90000"/>
                    <a:lumOff val="10000"/>
                  </a:schemeClr>
                </a:solidFill>
                <a:latin typeface="Myriad Pro" pitchFamily="34" charset="0"/>
              </a:rPr>
              <a:pPr algn="ctr"/>
              <a:t>‹#›</a:t>
            </a:fld>
            <a:endParaRPr kumimoji="1" lang="ja-JP" altLang="en-US" sz="1100" dirty="0">
              <a:solidFill>
                <a:schemeClr val="tx1">
                  <a:lumMod val="90000"/>
                  <a:lumOff val="10000"/>
                </a:schemeClr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405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4227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1_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1" name="Google Shape;51;p1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53234" y="6505934"/>
            <a:ext cx="368834" cy="236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79055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col + 1col body" type="tx">
  <p:cSld name="1col + 1col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5"/>
          <p:cNvSpPr txBox="1">
            <a:spLocks noGrp="1"/>
          </p:cNvSpPr>
          <p:nvPr>
            <p:ph type="title"/>
          </p:nvPr>
        </p:nvSpPr>
        <p:spPr>
          <a:xfrm>
            <a:off x="269467" y="242934"/>
            <a:ext cx="3218800" cy="19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Font typeface="Montserrat SemiBold"/>
              <a:buNone/>
              <a:defRPr sz="1200">
                <a:solidFill>
                  <a:srgbClr val="25CFE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body" idx="1"/>
          </p:nvPr>
        </p:nvSpPr>
        <p:spPr>
          <a:xfrm>
            <a:off x="269467" y="1755634"/>
            <a:ext cx="3218800" cy="483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448" lvl="0" indent="-355511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1218895" lvl="1" indent="-355511" rtl="0">
              <a:lnSpc>
                <a:spcPct val="115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2pPr>
            <a:lvl3pPr marL="1828343" lvl="2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3pPr>
            <a:lvl4pPr marL="2437791" lvl="3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4pPr>
            <a:lvl5pPr marL="3047238" lvl="4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5pPr>
            <a:lvl6pPr marL="3656686" lvl="5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6pPr>
            <a:lvl7pPr marL="4266133" lvl="6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7pPr>
            <a:lvl8pPr marL="4875581" lvl="7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8pPr>
            <a:lvl9pPr marL="5485029" lvl="8" indent="-355511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body" idx="2"/>
          </p:nvPr>
        </p:nvSpPr>
        <p:spPr>
          <a:xfrm>
            <a:off x="4364134" y="1755634"/>
            <a:ext cx="7558400" cy="48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lvl="0" indent="-355511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1218895" lvl="1" indent="-355511" rtl="0">
              <a:lnSpc>
                <a:spcPct val="115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2pPr>
            <a:lvl3pPr marL="1828343" lvl="2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3pPr>
            <a:lvl4pPr marL="2437791" lvl="3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4pPr>
            <a:lvl5pPr marL="3047238" lvl="4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5pPr>
            <a:lvl6pPr marL="3656686" lvl="5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6pPr>
            <a:lvl7pPr marL="4266133" lvl="6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7pPr>
            <a:lvl8pPr marL="4875581" lvl="7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8pPr>
            <a:lvl9pPr marL="5485029" lvl="8" indent="-355511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15"/>
          <p:cNvSpPr txBox="1">
            <a:spLocks noGrp="1"/>
          </p:cNvSpPr>
          <p:nvPr>
            <p:ph type="subTitle" idx="3"/>
          </p:nvPr>
        </p:nvSpPr>
        <p:spPr>
          <a:xfrm>
            <a:off x="268233" y="499867"/>
            <a:ext cx="32188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63" name="Google Shape;63;p15"/>
          <p:cNvSpPr txBox="1">
            <a:spLocks noGrp="1"/>
          </p:cNvSpPr>
          <p:nvPr>
            <p:ph type="subTitle" idx="4"/>
          </p:nvPr>
        </p:nvSpPr>
        <p:spPr>
          <a:xfrm>
            <a:off x="4364134" y="499867"/>
            <a:ext cx="7558400" cy="123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5131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8B89857-8702-4183-93CE-922450079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8661A5B-5FC5-409E-ADB3-800281F24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2430C37-C8F2-4F73-82FE-5E4F29D7A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484337B-D22F-4002-9603-874F55484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D112B73-1191-4516-A69B-03D26A2EC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59139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col + 2col body">
  <p:cSld name="1col + 2col body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6"/>
          <p:cNvSpPr txBox="1">
            <a:spLocks noGrp="1"/>
          </p:cNvSpPr>
          <p:nvPr>
            <p:ph type="title"/>
          </p:nvPr>
        </p:nvSpPr>
        <p:spPr>
          <a:xfrm>
            <a:off x="269467" y="242934"/>
            <a:ext cx="3218800" cy="19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Font typeface="Montserrat SemiBold"/>
              <a:buNone/>
              <a:defRPr sz="1200">
                <a:solidFill>
                  <a:srgbClr val="25CFE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1000"/>
              <a:buNone/>
              <a:defRPr sz="1333">
                <a:solidFill>
                  <a:srgbClr val="25CFE1"/>
                </a:solidFill>
              </a:defRPr>
            </a:lvl9pPr>
          </a:lstStyle>
          <a:p>
            <a:endParaRPr/>
          </a:p>
        </p:txBody>
      </p:sp>
      <p:sp>
        <p:nvSpPr>
          <p:cNvPr id="66" name="Google Shape;66;p16"/>
          <p:cNvSpPr txBox="1">
            <a:spLocks noGrp="1"/>
          </p:cNvSpPr>
          <p:nvPr>
            <p:ph type="body" idx="1"/>
          </p:nvPr>
        </p:nvSpPr>
        <p:spPr>
          <a:xfrm>
            <a:off x="269467" y="1755634"/>
            <a:ext cx="3218800" cy="483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448" lvl="0" indent="-355511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1218895" lvl="1" indent="-355511" rtl="0">
              <a:lnSpc>
                <a:spcPct val="115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2pPr>
            <a:lvl3pPr marL="1828343" lvl="2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3pPr>
            <a:lvl4pPr marL="2437791" lvl="3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4pPr>
            <a:lvl5pPr marL="3047238" lvl="4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5pPr>
            <a:lvl6pPr marL="3656686" lvl="5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6pPr>
            <a:lvl7pPr marL="4266133" lvl="6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7pPr>
            <a:lvl8pPr marL="4875581" lvl="7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8pPr>
            <a:lvl9pPr marL="5485029" lvl="8" indent="-355511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16"/>
          <p:cNvSpPr txBox="1">
            <a:spLocks noGrp="1"/>
          </p:cNvSpPr>
          <p:nvPr>
            <p:ph type="body" idx="2"/>
          </p:nvPr>
        </p:nvSpPr>
        <p:spPr>
          <a:xfrm>
            <a:off x="4364134" y="1755634"/>
            <a:ext cx="3460400" cy="48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lvl="0" indent="-355511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1218895" lvl="1" indent="-355511" rtl="0">
              <a:lnSpc>
                <a:spcPct val="115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2pPr>
            <a:lvl3pPr marL="1828343" lvl="2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3pPr>
            <a:lvl4pPr marL="2437791" lvl="3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4pPr>
            <a:lvl5pPr marL="3047238" lvl="4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5pPr>
            <a:lvl6pPr marL="3656686" lvl="5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6pPr>
            <a:lvl7pPr marL="4266133" lvl="6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7pPr>
            <a:lvl8pPr marL="4875581" lvl="7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8pPr>
            <a:lvl9pPr marL="5485029" lvl="8" indent="-355511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6"/>
          <p:cNvSpPr txBox="1">
            <a:spLocks noGrp="1"/>
          </p:cNvSpPr>
          <p:nvPr>
            <p:ph type="body" idx="3"/>
          </p:nvPr>
        </p:nvSpPr>
        <p:spPr>
          <a:xfrm>
            <a:off x="8485100" y="1755634"/>
            <a:ext cx="3460400" cy="48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448" lvl="0" indent="-355511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1218895" lvl="1" indent="-355511" rtl="0">
              <a:lnSpc>
                <a:spcPct val="115000"/>
              </a:lnSpc>
              <a:spcBef>
                <a:spcPts val="200"/>
              </a:spcBef>
              <a:spcAft>
                <a:spcPts val="0"/>
              </a:spcAft>
              <a:buClr>
                <a:schemeClr val="dk2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2pPr>
            <a:lvl3pPr marL="1828343" lvl="2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3pPr>
            <a:lvl4pPr marL="2437791" lvl="3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4pPr>
            <a:lvl5pPr marL="3047238" lvl="4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5pPr>
            <a:lvl6pPr marL="3656686" lvl="5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6pPr>
            <a:lvl7pPr marL="4266133" lvl="6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●"/>
              <a:defRPr sz="800">
                <a:solidFill>
                  <a:schemeClr val="dk2"/>
                </a:solidFill>
              </a:defRPr>
            </a:lvl7pPr>
            <a:lvl8pPr marL="4875581" lvl="7" indent="-355511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25CFE1"/>
              </a:buClr>
              <a:buSzPts val="600"/>
              <a:buChar char="○"/>
              <a:defRPr sz="800">
                <a:solidFill>
                  <a:schemeClr val="dk2"/>
                </a:solidFill>
              </a:defRPr>
            </a:lvl8pPr>
            <a:lvl9pPr marL="5485029" lvl="8" indent="-355511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25CFE1"/>
              </a:buClr>
              <a:buSzPts val="600"/>
              <a:buChar char="■"/>
              <a:defRPr sz="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9" name="Google Shape;69;p16"/>
          <p:cNvSpPr txBox="1">
            <a:spLocks noGrp="1"/>
          </p:cNvSpPr>
          <p:nvPr>
            <p:ph type="subTitle" idx="4"/>
          </p:nvPr>
        </p:nvSpPr>
        <p:spPr>
          <a:xfrm>
            <a:off x="268233" y="499867"/>
            <a:ext cx="32188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0" name="Google Shape;70;p16"/>
          <p:cNvSpPr txBox="1">
            <a:spLocks noGrp="1"/>
          </p:cNvSpPr>
          <p:nvPr>
            <p:ph type="subTitle" idx="5"/>
          </p:nvPr>
        </p:nvSpPr>
        <p:spPr>
          <a:xfrm>
            <a:off x="4364134" y="499867"/>
            <a:ext cx="7558400" cy="1231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2266">
                <a:solidFill>
                  <a:srgbClr val="595959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2793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2000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2"/>
            <a:ext cx="12192000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172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172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53546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4"/>
          <p:cNvSpPr txBox="1">
            <a:spLocks noGrp="1"/>
          </p:cNvSpPr>
          <p:nvPr>
            <p:ph type="ctrTitle"/>
          </p:nvPr>
        </p:nvSpPr>
        <p:spPr>
          <a:xfrm>
            <a:off x="269467" y="2655300"/>
            <a:ext cx="11653200" cy="1318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9065">
                <a:solidFill>
                  <a:schemeClr val="lt1"/>
                </a:solidFill>
                <a:latin typeface="Montserrat ExtraLight"/>
                <a:ea typeface="Montserrat ExtraLight"/>
                <a:cs typeface="Montserrat ExtraLight"/>
                <a:sym typeface="Montserrat ExtraLight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200"/>
              <a:buFont typeface="Montserrat Thin"/>
              <a:buNone/>
              <a:defRPr sz="6932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ubTitle" idx="1"/>
          </p:nvPr>
        </p:nvSpPr>
        <p:spPr>
          <a:xfrm>
            <a:off x="269200" y="4018067"/>
            <a:ext cx="116532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2533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Montserrat Thin"/>
              <a:buNone/>
              <a:defRPr sz="3733">
                <a:solidFill>
                  <a:schemeClr val="lt1"/>
                </a:solidFill>
                <a:latin typeface="Montserrat Thin"/>
                <a:ea typeface="Montserrat Thin"/>
                <a:cs typeface="Montserrat Thin"/>
                <a:sym typeface="Montserrat Thin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5137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A4F23FE-E431-4806-ACA7-B9373CD36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403848B-86FA-4FC1-8A00-FDA4582262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CFB32EA-BCA5-40F4-9431-5B0E4DD33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EFD05-35B7-4A66-903D-C7DC7E8DD46E}" type="datetimeFigureOut">
              <a:rPr lang="ja-JP" altLang="en-US"/>
              <a:pPr>
                <a:defRPr/>
              </a:pPr>
              <a:t>2022/5/25</a:t>
            </a:fld>
            <a:endParaRPr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89F8C74-B071-48FC-95AC-98E0DABC0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32B1B23-0247-4F28-8DE2-D162DA48A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1940E6-236F-4465-AE12-5EC1FDB3390D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166926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7" imgH="377" progId="TCLayout.ActiveDocument.1">
                  <p:embed/>
                </p:oleObj>
              </mc:Choice>
              <mc:Fallback>
                <p:oleObj name="think-cell Slide" r:id="rId3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9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テキスト ボックス 9"/>
          <p:cNvSpPr txBox="1"/>
          <p:nvPr userDrawn="1"/>
        </p:nvSpPr>
        <p:spPr>
          <a:xfrm>
            <a:off x="11353800" y="6575279"/>
            <a:ext cx="680976" cy="19098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fld id="{5FB837A6-7C55-4832-9375-068F3190A347}" type="slidenum">
              <a:rPr kumimoji="1" lang="ja-JP" altLang="en-US" sz="1100" smtClean="0">
                <a:solidFill>
                  <a:schemeClr val="tx1"/>
                </a:solidFill>
                <a:latin typeface="Myriad Pro" pitchFamily="34" charset="0"/>
              </a:rPr>
              <a:pPr algn="ctr"/>
              <a:t>‹#›</a:t>
            </a:fld>
            <a:endParaRPr kumimoji="1" lang="ja-JP" altLang="en-US" sz="1100" dirty="0">
              <a:solidFill>
                <a:schemeClr val="tx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26884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C159585-5E0B-404B-9656-4D8FE0C48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1FB58E81-91F8-4F11-95DA-F4F32C8EA0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DC06E95B-4FDF-41CA-AE4B-A0F867CC7D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CB80EE5-EF1D-4B73-B109-B4914BCB1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CB852A4-EEB3-43AB-A7CB-E31AB49431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CD5E11E-EB5F-4BC2-847A-963D72E80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60641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288FF2-34B5-40B5-BD82-103A9AB2F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96A911D5-A8E2-4BBB-8C1B-F751DF9F99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926BA5FC-D18E-4F4D-B13C-A688B76942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D37F3418-50CE-415E-B29A-50A0F1C57D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EE70444F-DEAD-4E10-9735-B4D6240D9B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AEA2C4FC-EF98-403A-92CB-0B1EFE953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5A729340-9857-4B62-A014-45101CD7E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62E63149-6AED-4977-95F4-47886A9E7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890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0F5E946-F554-441B-ABEE-5D3EA031D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AD4B3092-FAF9-4052-89C0-4D1026F57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0A865679-5833-4F9C-A8A1-57AF90FCF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3A94D3B-6D73-4478-9583-F7C65C704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6224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149106E-C7A0-4ECE-91E3-E068DDE5A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CB6B84CC-146D-4372-93D7-FDADE1F39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2E24F12-1F82-4E7F-ACE0-530071A97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98829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2DB042C-41A0-42FF-9A6F-C23E4A20E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F95E558-7335-4DEE-9F86-E02542C9B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AC2668D-5B48-4635-B45D-E57D91329F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4CC8AE5A-BFED-4B68-92FB-7DA02A030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14146DB2-585E-4309-AF05-9D108288F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41A6FE8-2A83-4A46-8B4E-BF2983DAB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64890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DF903C3-5982-44B0-8787-A23A07AF2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1EA36CF1-D578-4329-BB94-546FEE7019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443E85BA-C1F8-4A3F-80F7-477BA7DB33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B54FD9C-A28B-4E9F-9EE2-76784F0AF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6B76D3C-0816-4A13-A055-A058E8807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80C8EB60-3B2F-4C6C-9300-FCE7E180B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06573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7B6ECC3-5B41-4A21-A2DD-DA66533E2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F58CF77-E915-42B9-8515-D2A9F16D70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B763540-0CBF-4C6E-BB36-E78A0C4C2D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E5B1B3-65E1-498D-AF5E-EEC35EB6AE8E}" type="datetimeFigureOut">
              <a:rPr kumimoji="1" lang="ja-JP" altLang="en-US" smtClean="0"/>
              <a:t>2022/5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23593F5-7EDE-4A1A-BA74-4CB76287EE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6C36DF8-CFF6-4B8F-80D3-324A193BC1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65A21C-897C-4B8E-BF21-2DAD3D53DDF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0638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2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10EC9C-7AA6-034B-8A74-39E46AF9908C}"/>
              </a:ext>
            </a:extLst>
          </p:cNvPr>
          <p:cNvSpPr txBox="1"/>
          <p:nvPr userDrawn="1"/>
        </p:nvSpPr>
        <p:spPr>
          <a:xfrm>
            <a:off x="11750218" y="305271"/>
            <a:ext cx="462518" cy="246203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id-ID" sz="1000" b="0" i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Montserrat" charset="0"/>
              </a:rPr>
              <a:pPr algn="ctr"/>
              <a:t>‹#›</a:t>
            </a:fld>
            <a:r>
              <a:rPr lang="id-ID" sz="1000" b="1" i="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74535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hf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1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9.png"/><Relationship Id="rId17" Type="http://schemas.openxmlformats.org/officeDocument/2006/relationships/image" Target="../media/image25.png"/><Relationship Id="rId2" Type="http://schemas.openxmlformats.org/officeDocument/2006/relationships/image" Target="../media/image11.jpeg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5" Type="http://schemas.openxmlformats.org/officeDocument/2006/relationships/image" Target="../media/image23.png"/><Relationship Id="rId10" Type="http://schemas.openxmlformats.org/officeDocument/2006/relationships/image" Target="../media/image19.png"/><Relationship Id="rId4" Type="http://schemas.openxmlformats.org/officeDocument/2006/relationships/image" Target="../media/image13.jpeg"/><Relationship Id="rId9" Type="http://schemas.openxmlformats.org/officeDocument/2006/relationships/image" Target="../media/image18.png"/><Relationship Id="rId14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>
            <a:extLst>
              <a:ext uri="{FF2B5EF4-FFF2-40B4-BE49-F238E27FC236}">
                <a16:creationId xmlns:a16="http://schemas.microsoft.com/office/drawing/2014/main" id="{37DFE8F9-4D0C-FA44-B88A-391394C0C2B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-2835327" y="-1963031"/>
            <a:ext cx="11637481" cy="11099494"/>
          </a:xfrm>
          <a:custGeom>
            <a:avLst/>
            <a:gdLst>
              <a:gd name="T0" fmla="*/ 1462 w 3623"/>
              <a:gd name="T1" fmla="*/ 62 h 3457"/>
              <a:gd name="T2" fmla="*/ 1462 w 3623"/>
              <a:gd name="T3" fmla="*/ 62 h 3457"/>
              <a:gd name="T4" fmla="*/ 3038 w 3623"/>
              <a:gd name="T5" fmla="*/ 1088 h 3457"/>
              <a:gd name="T6" fmla="*/ 3038 w 3623"/>
              <a:gd name="T7" fmla="*/ 1088 h 3457"/>
              <a:gd name="T8" fmla="*/ 3382 w 3623"/>
              <a:gd name="T9" fmla="*/ 2643 h 3457"/>
              <a:gd name="T10" fmla="*/ 3382 w 3623"/>
              <a:gd name="T11" fmla="*/ 2643 h 3457"/>
              <a:gd name="T12" fmla="*/ 1932 w 3623"/>
              <a:gd name="T13" fmla="*/ 3372 h 3457"/>
              <a:gd name="T14" fmla="*/ 1932 w 3623"/>
              <a:gd name="T15" fmla="*/ 3372 h 3457"/>
              <a:gd name="T16" fmla="*/ 817 w 3623"/>
              <a:gd name="T17" fmla="*/ 2907 h 3457"/>
              <a:gd name="T18" fmla="*/ 817 w 3623"/>
              <a:gd name="T19" fmla="*/ 2907 h 3457"/>
              <a:gd name="T20" fmla="*/ 18 w 3623"/>
              <a:gd name="T21" fmla="*/ 2031 h 3457"/>
              <a:gd name="T22" fmla="*/ 18 w 3623"/>
              <a:gd name="T23" fmla="*/ 2031 h 3457"/>
              <a:gd name="T24" fmla="*/ 312 w 3623"/>
              <a:gd name="T25" fmla="*/ 1047 h 3457"/>
              <a:gd name="T26" fmla="*/ 312 w 3623"/>
              <a:gd name="T27" fmla="*/ 1047 h 3457"/>
              <a:gd name="T28" fmla="*/ 1462 w 3623"/>
              <a:gd name="T29" fmla="*/ 62 h 3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23" h="3457">
                <a:moveTo>
                  <a:pt x="1462" y="62"/>
                </a:moveTo>
                <a:lnTo>
                  <a:pt x="1462" y="62"/>
                </a:lnTo>
                <a:cubicBezTo>
                  <a:pt x="2378" y="0"/>
                  <a:pt x="2802" y="465"/>
                  <a:pt x="3038" y="1088"/>
                </a:cubicBezTo>
                <a:lnTo>
                  <a:pt x="3038" y="1088"/>
                </a:lnTo>
                <a:cubicBezTo>
                  <a:pt x="3273" y="1712"/>
                  <a:pt x="3622" y="1926"/>
                  <a:pt x="3382" y="2643"/>
                </a:cubicBezTo>
                <a:lnTo>
                  <a:pt x="3382" y="2643"/>
                </a:lnTo>
                <a:cubicBezTo>
                  <a:pt x="3140" y="3361"/>
                  <a:pt x="2271" y="3456"/>
                  <a:pt x="1932" y="3372"/>
                </a:cubicBezTo>
                <a:lnTo>
                  <a:pt x="1932" y="3372"/>
                </a:lnTo>
                <a:cubicBezTo>
                  <a:pt x="1591" y="3288"/>
                  <a:pt x="1239" y="3072"/>
                  <a:pt x="817" y="2907"/>
                </a:cubicBezTo>
                <a:lnTo>
                  <a:pt x="817" y="2907"/>
                </a:lnTo>
                <a:cubicBezTo>
                  <a:pt x="187" y="2664"/>
                  <a:pt x="32" y="2345"/>
                  <a:pt x="18" y="2031"/>
                </a:cubicBezTo>
                <a:lnTo>
                  <a:pt x="18" y="2031"/>
                </a:lnTo>
                <a:cubicBezTo>
                  <a:pt x="0" y="1586"/>
                  <a:pt x="236" y="1536"/>
                  <a:pt x="312" y="1047"/>
                </a:cubicBezTo>
                <a:lnTo>
                  <a:pt x="312" y="1047"/>
                </a:lnTo>
                <a:cubicBezTo>
                  <a:pt x="402" y="463"/>
                  <a:pt x="745" y="111"/>
                  <a:pt x="1462" y="62"/>
                </a:cubicBezTo>
              </a:path>
            </a:pathLst>
          </a:custGeom>
          <a:solidFill>
            <a:schemeClr val="tx1">
              <a:lumMod val="40000"/>
              <a:lumOff val="60000"/>
              <a:alpha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defTabSz="914217"/>
            <a:endParaRPr kumimoji="0" lang="en-US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BAB834-84FA-3A4B-9D99-444FCB5FA429}"/>
              </a:ext>
            </a:extLst>
          </p:cNvPr>
          <p:cNvSpPr txBox="1"/>
          <p:nvPr/>
        </p:nvSpPr>
        <p:spPr>
          <a:xfrm>
            <a:off x="963741" y="3126358"/>
            <a:ext cx="7149982" cy="153888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217"/>
            <a:r>
              <a:rPr kumimoji="0" lang="en-US" altLang="ja-JP" sz="4000" b="1" dirty="0">
                <a:solidFill>
                  <a:srgbClr val="00206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Overview manual</a:t>
            </a:r>
            <a:br>
              <a:rPr kumimoji="0" lang="en-US" altLang="ja-JP" b="1" dirty="0">
                <a:solidFill>
                  <a:srgbClr val="00206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kumimoji="0" lang="en-US" altLang="ja-JP" b="1" dirty="0">
                <a:solidFill>
                  <a:srgbClr val="00206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2022.03.23</a:t>
            </a:r>
          </a:p>
          <a:p>
            <a:pPr defTabSz="914217"/>
            <a:endParaRPr kumimoji="0" lang="en-US" altLang="ja-JP" b="1" dirty="0">
              <a:solidFill>
                <a:srgbClr val="002060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defTabSz="914217"/>
            <a:endParaRPr kumimoji="0" lang="en-US" altLang="ja-JP" b="1" dirty="0">
              <a:solidFill>
                <a:srgbClr val="002060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0574A025-3FE8-45DE-8BDB-1788D1BE4C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448" y="11819555"/>
            <a:ext cx="2868752" cy="454646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BF7C4208-23F4-4FC1-9FC6-78392D7442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6848" y="11971955"/>
            <a:ext cx="2868752" cy="454646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7079BEE7-DB23-4340-AF4C-D6B7C4AF533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9248" y="12124355"/>
            <a:ext cx="2868752" cy="454646"/>
          </a:xfrm>
          <a:prstGeom prst="rect">
            <a:avLst/>
          </a:prstGeom>
        </p:spPr>
      </p:pic>
      <p:pic>
        <p:nvPicPr>
          <p:cNvPr id="44" name="図 43">
            <a:extLst>
              <a:ext uri="{FF2B5EF4-FFF2-40B4-BE49-F238E27FC236}">
                <a16:creationId xmlns:a16="http://schemas.microsoft.com/office/drawing/2014/main" id="{FBFEF1E7-E74A-48D9-B4C0-5CBBFB7296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728" y="6207334"/>
            <a:ext cx="2383925" cy="564687"/>
          </a:xfrm>
          <a:prstGeom prst="rect">
            <a:avLst/>
          </a:prstGeom>
        </p:spPr>
      </p:pic>
      <p:pic>
        <p:nvPicPr>
          <p:cNvPr id="46" name="図 45">
            <a:extLst>
              <a:ext uri="{FF2B5EF4-FFF2-40B4-BE49-F238E27FC236}">
                <a16:creationId xmlns:a16="http://schemas.microsoft.com/office/drawing/2014/main" id="{3ACBEAE8-97BD-43AA-96A8-24465C0994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11" y="1939859"/>
            <a:ext cx="6282169" cy="111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387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72D12193-A2D9-41BB-A578-8A847F96EC78}"/>
              </a:ext>
            </a:extLst>
          </p:cNvPr>
          <p:cNvSpPr txBox="1"/>
          <p:nvPr/>
        </p:nvSpPr>
        <p:spPr>
          <a:xfrm>
            <a:off x="762946" y="1515227"/>
            <a:ext cx="10425854" cy="585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60375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There are two types of documents:</a:t>
            </a:r>
          </a:p>
          <a:p>
            <a:pPr marL="917575" lvl="1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tandard document (formatted fixed form such as inspection form)</a:t>
            </a:r>
          </a:p>
          <a:p>
            <a:pPr marL="917575" lvl="1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zh-CN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Non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 standard document (Drawing PDF, handwritten notes on photographs, etc.)</a:t>
            </a:r>
            <a:b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endParaRPr lang="en-US" altLang="ja-JP" sz="2800" b="1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460375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urrently, </a:t>
            </a:r>
            <a:r>
              <a:rPr lang="en-US" altLang="ja-JP" sz="2800" b="1" dirty="0" err="1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can only handle standard documents.</a:t>
            </a:r>
            <a:endParaRPr lang="ja-JP" altLang="en-US" sz="2800" b="1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460375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With </a:t>
            </a:r>
            <a:r>
              <a:rPr lang="en-US" altLang="ja-JP" sz="2800" b="1" dirty="0" err="1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, these two types of documents</a:t>
            </a:r>
          </a:p>
          <a:p>
            <a:pPr marL="917575" lvl="1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tandard document (format fixed form)</a:t>
            </a:r>
          </a:p>
          <a:p>
            <a:pPr marL="917575" lvl="1" indent="-460375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2"/>
              </a:buBlip>
            </a:pPr>
            <a:r>
              <a:rPr lang="en-US" altLang="ja-JP" sz="28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This is to be able to handle both </a:t>
            </a:r>
            <a:r>
              <a:rPr lang="en-US" altLang="zh-CN" sz="28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Non</a:t>
            </a:r>
            <a:r>
              <a:rPr lang="en-US" altLang="ja-JP" sz="28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standard documents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(Drawing PDF, handwritten notes on photographs, etc.)</a:t>
            </a:r>
            <a:b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lang="ja-JP" altLang="en-US" sz="10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endParaRPr lang="en-US" altLang="ja-JP" sz="1000" b="1" dirty="0">
              <a:solidFill>
                <a:srgbClr val="FF0000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lvl="1"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ja-JP" altLang="en-US" sz="3200" b="1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　</a:t>
            </a:r>
            <a:endParaRPr lang="en-US" altLang="ja-JP" sz="2400" dirty="0"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05B62B32-F777-46FF-9CCC-E239935B236B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6416D05-E2EE-492E-8777-567B394C3B59}"/>
              </a:ext>
            </a:extLst>
          </p:cNvPr>
          <p:cNvSpPr/>
          <p:nvPr/>
        </p:nvSpPr>
        <p:spPr>
          <a:xfrm>
            <a:off x="593160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38">
            <a:extLst>
              <a:ext uri="{FF2B5EF4-FFF2-40B4-BE49-F238E27FC236}">
                <a16:creationId xmlns:a16="http://schemas.microsoft.com/office/drawing/2014/main" id="{76ED5289-D572-4475-A415-A5676B4116DD}"/>
              </a:ext>
            </a:extLst>
          </p:cNvPr>
          <p:cNvSpPr txBox="1"/>
          <p:nvPr/>
        </p:nvSpPr>
        <p:spPr>
          <a:xfrm>
            <a:off x="695525" y="460314"/>
            <a:ext cx="84738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ja-JP" sz="36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Aim of the                                product</a:t>
            </a:r>
            <a:endParaRPr kumimoji="0" lang="ja-JP" altLang="en-US" sz="3600" b="1" dirty="0">
              <a:solidFill>
                <a:srgbClr val="445469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436D47F6-BA78-4492-B894-3C00B84AAB87}"/>
              </a:ext>
            </a:extLst>
          </p:cNvPr>
          <p:cNvGrpSpPr/>
          <p:nvPr/>
        </p:nvGrpSpPr>
        <p:grpSpPr>
          <a:xfrm>
            <a:off x="3198993" y="482255"/>
            <a:ext cx="3752249" cy="628297"/>
            <a:chOff x="600862" y="4369802"/>
            <a:chExt cx="10981721" cy="1838840"/>
          </a:xfrm>
        </p:grpSpPr>
        <p:sp>
          <p:nvSpPr>
            <p:cNvPr id="21" name="フリーフォーム: 図形 20">
              <a:extLst>
                <a:ext uri="{FF2B5EF4-FFF2-40B4-BE49-F238E27FC236}">
                  <a16:creationId xmlns:a16="http://schemas.microsoft.com/office/drawing/2014/main" id="{2ACF76F7-1592-415D-877D-82F0B8CEDC3F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フリーフォーム: 図形 21">
              <a:extLst>
                <a:ext uri="{FF2B5EF4-FFF2-40B4-BE49-F238E27FC236}">
                  <a16:creationId xmlns:a16="http://schemas.microsoft.com/office/drawing/2014/main" id="{864618B3-66AA-415B-B3C2-67ADC532AC9D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フリーフォーム: 図形 22">
              <a:extLst>
                <a:ext uri="{FF2B5EF4-FFF2-40B4-BE49-F238E27FC236}">
                  <a16:creationId xmlns:a16="http://schemas.microsoft.com/office/drawing/2014/main" id="{245331AD-CD4A-436D-822C-FA978BDE911A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フリーフォーム: 図形 23">
              <a:extLst>
                <a:ext uri="{FF2B5EF4-FFF2-40B4-BE49-F238E27FC236}">
                  <a16:creationId xmlns:a16="http://schemas.microsoft.com/office/drawing/2014/main" id="{6E6390A6-6801-4CF1-8BDC-EF1401AEC3FC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A24ADE91-9937-47E6-B2B7-A19D5EE50DB6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9FF020FB-793B-4268-8179-5728C1268261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フリーフォーム: 図形 26">
              <a:extLst>
                <a:ext uri="{FF2B5EF4-FFF2-40B4-BE49-F238E27FC236}">
                  <a16:creationId xmlns:a16="http://schemas.microsoft.com/office/drawing/2014/main" id="{B36B33DA-7234-4A97-BD3C-BD8B1EB192A6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フリーフォーム: 図形 27">
              <a:extLst>
                <a:ext uri="{FF2B5EF4-FFF2-40B4-BE49-F238E27FC236}">
                  <a16:creationId xmlns:a16="http://schemas.microsoft.com/office/drawing/2014/main" id="{B08EB084-61E0-49AA-86BE-6CB6ADBB8B61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フリーフォーム: 図形 28">
              <a:extLst>
                <a:ext uri="{FF2B5EF4-FFF2-40B4-BE49-F238E27FC236}">
                  <a16:creationId xmlns:a16="http://schemas.microsoft.com/office/drawing/2014/main" id="{C1DC849D-9A55-4034-B98A-7660A98B8E91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フリーフォーム: 図形 29">
              <a:extLst>
                <a:ext uri="{FF2B5EF4-FFF2-40B4-BE49-F238E27FC236}">
                  <a16:creationId xmlns:a16="http://schemas.microsoft.com/office/drawing/2014/main" id="{BEF95AC2-68CA-45CF-A49D-0F543FEE45F3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フリーフォーム: 図形 30">
              <a:extLst>
                <a:ext uri="{FF2B5EF4-FFF2-40B4-BE49-F238E27FC236}">
                  <a16:creationId xmlns:a16="http://schemas.microsoft.com/office/drawing/2014/main" id="{62DAA95C-73ED-4426-9EA5-A80EFAC3EACF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フリーフォーム: 図形 31">
              <a:extLst>
                <a:ext uri="{FF2B5EF4-FFF2-40B4-BE49-F238E27FC236}">
                  <a16:creationId xmlns:a16="http://schemas.microsoft.com/office/drawing/2014/main" id="{BAFB6777-E425-4783-90E2-15DB600A7D09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フリーフォーム: 図形 32">
              <a:extLst>
                <a:ext uri="{FF2B5EF4-FFF2-40B4-BE49-F238E27FC236}">
                  <a16:creationId xmlns:a16="http://schemas.microsoft.com/office/drawing/2014/main" id="{2F8EEEAD-F5E7-472D-A0E8-E93FFC8FC723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フリーフォーム: 図形 33">
              <a:extLst>
                <a:ext uri="{FF2B5EF4-FFF2-40B4-BE49-F238E27FC236}">
                  <a16:creationId xmlns:a16="http://schemas.microsoft.com/office/drawing/2014/main" id="{299D6242-5C48-4DED-9EE2-24E444EEB35A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フリーフォーム: 図形 34">
              <a:extLst>
                <a:ext uri="{FF2B5EF4-FFF2-40B4-BE49-F238E27FC236}">
                  <a16:creationId xmlns:a16="http://schemas.microsoft.com/office/drawing/2014/main" id="{5C9E8776-1A18-455F-9E65-DBE69D51C831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フリーフォーム: 図形 35">
              <a:extLst>
                <a:ext uri="{FF2B5EF4-FFF2-40B4-BE49-F238E27FC236}">
                  <a16:creationId xmlns:a16="http://schemas.microsoft.com/office/drawing/2014/main" id="{43F869CB-38A5-49D1-BF7F-A124364D0BAE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フリーフォーム: 図形 36">
              <a:extLst>
                <a:ext uri="{FF2B5EF4-FFF2-40B4-BE49-F238E27FC236}">
                  <a16:creationId xmlns:a16="http://schemas.microsoft.com/office/drawing/2014/main" id="{03465CEA-9FC3-403C-A681-BFD91D1A0519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フリーフォーム: 図形 37">
              <a:extLst>
                <a:ext uri="{FF2B5EF4-FFF2-40B4-BE49-F238E27FC236}">
                  <a16:creationId xmlns:a16="http://schemas.microsoft.com/office/drawing/2014/main" id="{A1DFA3D1-04D4-4FF0-B5A9-02003A4B1A3A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フリーフォーム: 図形 38">
              <a:extLst>
                <a:ext uri="{FF2B5EF4-FFF2-40B4-BE49-F238E27FC236}">
                  <a16:creationId xmlns:a16="http://schemas.microsoft.com/office/drawing/2014/main" id="{F01856F3-1EC9-4F4C-8EE3-20449CECB560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フリーフォーム: 図形 39">
              <a:extLst>
                <a:ext uri="{FF2B5EF4-FFF2-40B4-BE49-F238E27FC236}">
                  <a16:creationId xmlns:a16="http://schemas.microsoft.com/office/drawing/2014/main" id="{8D4905D7-FD4B-4E9E-A587-A7DCF69B059E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フリーフォーム: 図形 40">
              <a:extLst>
                <a:ext uri="{FF2B5EF4-FFF2-40B4-BE49-F238E27FC236}">
                  <a16:creationId xmlns:a16="http://schemas.microsoft.com/office/drawing/2014/main" id="{FF5996E0-DCB5-4BCF-814E-8565C96D7925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フリーフォーム: 図形 41">
              <a:extLst>
                <a:ext uri="{FF2B5EF4-FFF2-40B4-BE49-F238E27FC236}">
                  <a16:creationId xmlns:a16="http://schemas.microsoft.com/office/drawing/2014/main" id="{C0F887C2-FCDC-471A-9CEE-FC7DE4F94C7E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フリーフォーム: 図形 42">
              <a:extLst>
                <a:ext uri="{FF2B5EF4-FFF2-40B4-BE49-F238E27FC236}">
                  <a16:creationId xmlns:a16="http://schemas.microsoft.com/office/drawing/2014/main" id="{BC63E38C-A967-44D1-8921-F8FF839CAB97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フリーフォーム: 図形 43">
              <a:extLst>
                <a:ext uri="{FF2B5EF4-FFF2-40B4-BE49-F238E27FC236}">
                  <a16:creationId xmlns:a16="http://schemas.microsoft.com/office/drawing/2014/main" id="{79CA1F1C-082E-411D-BDC5-5E0AAB3A13A4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3539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>
            <a:extLst>
              <a:ext uri="{FF2B5EF4-FFF2-40B4-BE49-F238E27FC236}">
                <a16:creationId xmlns:a16="http://schemas.microsoft.com/office/drawing/2014/main" id="{7F11A035-DD8A-42B0-B695-458B3F4F9CE7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997D4997-F174-4192-9886-A05E23ED17C6}"/>
              </a:ext>
            </a:extLst>
          </p:cNvPr>
          <p:cNvSpPr/>
          <p:nvPr/>
        </p:nvSpPr>
        <p:spPr>
          <a:xfrm>
            <a:off x="239231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9AF54075-6F29-45F3-99D2-41DAE8AAAC8E}"/>
              </a:ext>
            </a:extLst>
          </p:cNvPr>
          <p:cNvSpPr/>
          <p:nvPr/>
        </p:nvSpPr>
        <p:spPr>
          <a:xfrm>
            <a:off x="1025798" y="1573920"/>
            <a:ext cx="1167527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80000"/>
            </a:pPr>
            <a:r>
              <a:rPr lang="en-US" altLang="ja-JP" sz="3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With </a:t>
            </a:r>
            <a:r>
              <a:rPr lang="en-US" altLang="ja-JP" sz="36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3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, you will be able to create two types of documents, standard and non-standard!</a:t>
            </a:r>
            <a:endParaRPr lang="en-US" altLang="ja-JP" sz="3200" b="1" dirty="0">
              <a:gradFill>
                <a:gsLst>
                  <a:gs pos="0">
                    <a:srgbClr val="292929">
                      <a:lumMod val="90000"/>
                      <a:lumOff val="10000"/>
                    </a:srgbClr>
                  </a:gs>
                  <a:gs pos="86000">
                    <a:srgbClr val="292929">
                      <a:lumMod val="90000"/>
                      <a:lumOff val="10000"/>
                    </a:srgbClr>
                  </a:gs>
                </a:gsLst>
                <a:lin ang="5400000" scaled="0"/>
              </a:gra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7E40EAB-12FC-4BEF-8F4D-361105128F49}"/>
              </a:ext>
            </a:extLst>
          </p:cNvPr>
          <p:cNvSpPr/>
          <p:nvPr/>
        </p:nvSpPr>
        <p:spPr>
          <a:xfrm>
            <a:off x="-129344" y="2855998"/>
            <a:ext cx="12497255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lvl="1" indent="-230188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3"/>
              </a:buBlip>
            </a:pPr>
            <a:r>
              <a:rPr lang="en-US" altLang="ja-JP" sz="32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tandard document (form)</a:t>
            </a:r>
            <a:br>
              <a:rPr lang="en-US" altLang="ja-JP" sz="32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lang="ja-JP" altLang="en-US" sz="32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lang="ja-JP" altLang="en-US" sz="32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→</a:t>
            </a:r>
            <a:r>
              <a:rPr kumimoji="0" lang="en-US" altLang="ja-JP" sz="32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With the </a:t>
            </a:r>
            <a:r>
              <a:rPr kumimoji="0" lang="en-US" altLang="ja-JP" sz="3200" b="1" dirty="0" err="1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32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</a:t>
            </a:r>
            <a:r>
              <a:rPr kumimoji="0" lang="en-US" altLang="ja-JP" sz="3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app</a:t>
            </a:r>
            <a:br>
              <a:rPr lang="en-US" altLang="ja-JP" sz="32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lang="ja-JP" altLang="en-US" sz="32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　　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Report / record form created on-site such as inspection report</a:t>
            </a:r>
            <a:endParaRPr lang="en-US" altLang="ja-JP" sz="32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BDC1D688-4DC4-46CF-BC4E-54D457928E2F}"/>
              </a:ext>
            </a:extLst>
          </p:cNvPr>
          <p:cNvSpPr/>
          <p:nvPr/>
        </p:nvSpPr>
        <p:spPr>
          <a:xfrm>
            <a:off x="-129343" y="4444125"/>
            <a:ext cx="12497254" cy="2197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lvl="1" indent="-230188">
              <a:lnSpc>
                <a:spcPct val="90000"/>
              </a:lnSpc>
              <a:spcBef>
                <a:spcPct val="20000"/>
              </a:spcBef>
              <a:buSzPct val="80000"/>
              <a:buBlip>
                <a:blip r:embed="rId3"/>
              </a:buBlip>
            </a:pPr>
            <a:r>
              <a:rPr lang="en-US" altLang="ja-JP" sz="32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Non-standard document</a:t>
            </a:r>
            <a:br>
              <a:rPr lang="en-US" altLang="ja-JP" sz="32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lang="ja-JP" altLang="en-US" sz="3200" b="1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r>
              <a:rPr lang="ja-JP" altLang="en-US" sz="32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→</a:t>
            </a:r>
            <a:r>
              <a:rPr kumimoji="0" lang="en-US" altLang="ja-JP" sz="32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With the </a:t>
            </a:r>
            <a:r>
              <a:rPr kumimoji="0" lang="en-US" altLang="ja-JP" sz="3200" b="1" dirty="0" err="1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32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 </a:t>
            </a:r>
            <a:r>
              <a:rPr kumimoji="0" lang="en-US" altLang="ja-JP" sz="3200" b="1" dirty="0" err="1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FreeDraw</a:t>
            </a:r>
            <a:r>
              <a:rPr kumimoji="0" lang="en-US" altLang="ja-JP" sz="32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</a:t>
            </a:r>
            <a:r>
              <a:rPr kumimoji="0" lang="en-US" altLang="ja-JP" sz="3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app</a:t>
            </a:r>
            <a:br>
              <a:rPr lang="en-US" altLang="ja-JP" sz="3200" b="1" u="sng" dirty="0">
                <a:solidFill>
                  <a:srgbClr val="00B0F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</a:br>
            <a:r>
              <a:rPr lang="ja-JP" altLang="en-US" sz="32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　　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Notebook documents that can be freely created on site, such as </a:t>
            </a:r>
            <a:r>
              <a:rPr lang="en-US" altLang="zh-CN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</a:t>
            </a:r>
            <a:r>
              <a:rPr lang="en-US" altLang="ja-JP" sz="2800" b="1" dirty="0">
                <a:gradFill>
                  <a:gsLst>
                    <a:gs pos="0">
                      <a:srgbClr val="292929">
                        <a:lumMod val="90000"/>
                        <a:lumOff val="10000"/>
                      </a:srgbClr>
                    </a:gs>
                    <a:gs pos="86000">
                      <a:srgbClr val="292929">
                        <a:lumMod val="90000"/>
                        <a:lumOff val="10000"/>
                      </a:srgbClr>
                    </a:gs>
                  </a:gsLst>
                  <a:lin ang="5400000" scaled="0"/>
                </a:gra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orrective instructions, handwritten on PDF drawings, pasting graphics, pasting photos, etc.</a:t>
            </a:r>
            <a:endParaRPr lang="en-US" altLang="ja-JP" sz="3200" b="1" dirty="0">
              <a:solidFill>
                <a:srgbClr val="FF0000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164C2287-87AA-4F1E-B7AF-87F3E017EA26}"/>
              </a:ext>
            </a:extLst>
          </p:cNvPr>
          <p:cNvGrpSpPr/>
          <p:nvPr/>
        </p:nvGrpSpPr>
        <p:grpSpPr>
          <a:xfrm>
            <a:off x="5293460" y="497074"/>
            <a:ext cx="2632723" cy="629977"/>
            <a:chOff x="6716618" y="1385538"/>
            <a:chExt cx="4956671" cy="1186068"/>
          </a:xfrm>
        </p:grpSpPr>
        <p:grpSp>
          <p:nvGrpSpPr>
            <p:cNvPr id="46" name="グループ化 45">
              <a:extLst>
                <a:ext uri="{FF2B5EF4-FFF2-40B4-BE49-F238E27FC236}">
                  <a16:creationId xmlns:a16="http://schemas.microsoft.com/office/drawing/2014/main" id="{9CBD5CA4-9A4F-414D-9A64-BEC3A0CFDCA8}"/>
                </a:ext>
              </a:extLst>
            </p:cNvPr>
            <p:cNvGrpSpPr/>
            <p:nvPr/>
          </p:nvGrpSpPr>
          <p:grpSpPr>
            <a:xfrm>
              <a:off x="8264026" y="1691709"/>
              <a:ext cx="3409263" cy="684056"/>
              <a:chOff x="8264026" y="3142137"/>
              <a:chExt cx="3409263" cy="684056"/>
            </a:xfrm>
          </p:grpSpPr>
          <p:sp>
            <p:nvSpPr>
              <p:cNvPr id="57" name="フリーフォーム: 図形 56">
                <a:extLst>
                  <a:ext uri="{FF2B5EF4-FFF2-40B4-BE49-F238E27FC236}">
                    <a16:creationId xmlns:a16="http://schemas.microsoft.com/office/drawing/2014/main" id="{CCDD37EB-6BBB-463B-8433-246D22E309C5}"/>
                  </a:ext>
                </a:extLst>
              </p:cNvPr>
              <p:cNvSpPr/>
              <p:nvPr/>
            </p:nvSpPr>
            <p:spPr>
              <a:xfrm>
                <a:off x="8264026" y="3142137"/>
                <a:ext cx="126882" cy="554417"/>
              </a:xfrm>
              <a:custGeom>
                <a:avLst/>
                <a:gdLst>
                  <a:gd name="connsiteX0" fmla="*/ 126882 w 126882"/>
                  <a:gd name="connsiteY0" fmla="*/ 60683 h 554417"/>
                  <a:gd name="connsiteX1" fmla="*/ 63441 w 126882"/>
                  <a:gd name="connsiteY1" fmla="*/ 121365 h 554417"/>
                  <a:gd name="connsiteX2" fmla="*/ 0 w 126882"/>
                  <a:gd name="connsiteY2" fmla="*/ 60683 h 554417"/>
                  <a:gd name="connsiteX3" fmla="*/ 63441 w 126882"/>
                  <a:gd name="connsiteY3" fmla="*/ 0 h 554417"/>
                  <a:gd name="connsiteX4" fmla="*/ 126882 w 126882"/>
                  <a:gd name="connsiteY4" fmla="*/ 60683 h 554417"/>
                  <a:gd name="connsiteX5" fmla="*/ 113091 w 126882"/>
                  <a:gd name="connsiteY5" fmla="*/ 554418 h 554417"/>
                  <a:gd name="connsiteX6" fmla="*/ 13792 w 126882"/>
                  <a:gd name="connsiteY6" fmla="*/ 554418 h 554417"/>
                  <a:gd name="connsiteX7" fmla="*/ 13792 w 126882"/>
                  <a:gd name="connsiteY7" fmla="*/ 193081 h 554417"/>
                  <a:gd name="connsiteX8" fmla="*/ 113091 w 126882"/>
                  <a:gd name="connsiteY8" fmla="*/ 193081 h 554417"/>
                  <a:gd name="connsiteX9" fmla="*/ 113091 w 126882"/>
                  <a:gd name="connsiteY9" fmla="*/ 554418 h 554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882" h="554417">
                    <a:moveTo>
                      <a:pt x="126882" y="60683"/>
                    </a:moveTo>
                    <a:cubicBezTo>
                      <a:pt x="126882" y="93782"/>
                      <a:pt x="99299" y="121365"/>
                      <a:pt x="63441" y="121365"/>
                    </a:cubicBezTo>
                    <a:cubicBezTo>
                      <a:pt x="27583" y="121365"/>
                      <a:pt x="0" y="93782"/>
                      <a:pt x="0" y="60683"/>
                    </a:cubicBezTo>
                    <a:cubicBezTo>
                      <a:pt x="0" y="24825"/>
                      <a:pt x="27583" y="0"/>
                      <a:pt x="63441" y="0"/>
                    </a:cubicBezTo>
                    <a:cubicBezTo>
                      <a:pt x="99299" y="0"/>
                      <a:pt x="126882" y="24825"/>
                      <a:pt x="126882" y="60683"/>
                    </a:cubicBezTo>
                    <a:moveTo>
                      <a:pt x="113091" y="554418"/>
                    </a:moveTo>
                    <a:lnTo>
                      <a:pt x="13792" y="554418"/>
                    </a:lnTo>
                    <a:lnTo>
                      <a:pt x="13792" y="193081"/>
                    </a:lnTo>
                    <a:lnTo>
                      <a:pt x="113091" y="193081"/>
                    </a:lnTo>
                    <a:lnTo>
                      <a:pt x="113091" y="554418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フリーフォーム: 図形 57">
                <a:extLst>
                  <a:ext uri="{FF2B5EF4-FFF2-40B4-BE49-F238E27FC236}">
                    <a16:creationId xmlns:a16="http://schemas.microsoft.com/office/drawing/2014/main" id="{1442B71F-4866-4E2F-ACF5-7A89263BB41A}"/>
                  </a:ext>
                </a:extLst>
              </p:cNvPr>
              <p:cNvSpPr/>
              <p:nvPr/>
            </p:nvSpPr>
            <p:spPr>
              <a:xfrm>
                <a:off x="8454349" y="3420725"/>
                <a:ext cx="184806" cy="82748"/>
              </a:xfrm>
              <a:custGeom>
                <a:avLst/>
                <a:gdLst>
                  <a:gd name="connsiteX0" fmla="*/ 0 w 184806"/>
                  <a:gd name="connsiteY0" fmla="*/ 0 h 82748"/>
                  <a:gd name="connsiteX1" fmla="*/ 184807 w 184806"/>
                  <a:gd name="connsiteY1" fmla="*/ 0 h 82748"/>
                  <a:gd name="connsiteX2" fmla="*/ 184807 w 184806"/>
                  <a:gd name="connsiteY2" fmla="*/ 82749 h 82748"/>
                  <a:gd name="connsiteX3" fmla="*/ 0 w 184806"/>
                  <a:gd name="connsiteY3" fmla="*/ 82749 h 8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806" h="82748">
                    <a:moveTo>
                      <a:pt x="0" y="0"/>
                    </a:moveTo>
                    <a:lnTo>
                      <a:pt x="184807" y="0"/>
                    </a:lnTo>
                    <a:lnTo>
                      <a:pt x="184807" y="82749"/>
                    </a:lnTo>
                    <a:lnTo>
                      <a:pt x="0" y="82749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フリーフォーム: 図形 58">
                <a:extLst>
                  <a:ext uri="{FF2B5EF4-FFF2-40B4-BE49-F238E27FC236}">
                    <a16:creationId xmlns:a16="http://schemas.microsoft.com/office/drawing/2014/main" id="{4468E637-01BD-4D09-9166-0500B7DFC9CC}"/>
                  </a:ext>
                </a:extLst>
              </p:cNvPr>
              <p:cNvSpPr/>
              <p:nvPr/>
            </p:nvSpPr>
            <p:spPr>
              <a:xfrm>
                <a:off x="8727421" y="3213852"/>
                <a:ext cx="405470" cy="482702"/>
              </a:xfrm>
              <a:custGeom>
                <a:avLst/>
                <a:gdLst>
                  <a:gd name="connsiteX0" fmla="*/ 295139 w 405470"/>
                  <a:gd name="connsiteY0" fmla="*/ 482702 h 482702"/>
                  <a:gd name="connsiteX1" fmla="*/ 171015 w 405470"/>
                  <a:gd name="connsiteY1" fmla="*/ 311688 h 482702"/>
                  <a:gd name="connsiteX2" fmla="*/ 99299 w 405470"/>
                  <a:gd name="connsiteY2" fmla="*/ 311688 h 482702"/>
                  <a:gd name="connsiteX3" fmla="*/ 99299 w 405470"/>
                  <a:gd name="connsiteY3" fmla="*/ 482702 h 482702"/>
                  <a:gd name="connsiteX4" fmla="*/ 0 w 405470"/>
                  <a:gd name="connsiteY4" fmla="*/ 482702 h 482702"/>
                  <a:gd name="connsiteX5" fmla="*/ 0 w 405470"/>
                  <a:gd name="connsiteY5" fmla="*/ 0 h 482702"/>
                  <a:gd name="connsiteX6" fmla="*/ 182048 w 405470"/>
                  <a:gd name="connsiteY6" fmla="*/ 0 h 482702"/>
                  <a:gd name="connsiteX7" fmla="*/ 355821 w 405470"/>
                  <a:gd name="connsiteY7" fmla="*/ 154465 h 482702"/>
                  <a:gd name="connsiteX8" fmla="*/ 270314 w 405470"/>
                  <a:gd name="connsiteY8" fmla="*/ 289621 h 482702"/>
                  <a:gd name="connsiteX9" fmla="*/ 405471 w 405470"/>
                  <a:gd name="connsiteY9" fmla="*/ 479944 h 482702"/>
                  <a:gd name="connsiteX10" fmla="*/ 295139 w 405470"/>
                  <a:gd name="connsiteY10" fmla="*/ 479944 h 482702"/>
                  <a:gd name="connsiteX11" fmla="*/ 99299 w 405470"/>
                  <a:gd name="connsiteY11" fmla="*/ 226180 h 482702"/>
                  <a:gd name="connsiteX12" fmla="*/ 182048 w 405470"/>
                  <a:gd name="connsiteY12" fmla="*/ 226180 h 482702"/>
                  <a:gd name="connsiteX13" fmla="*/ 253764 w 405470"/>
                  <a:gd name="connsiteY13" fmla="*/ 157223 h 482702"/>
                  <a:gd name="connsiteX14" fmla="*/ 182048 w 405470"/>
                  <a:gd name="connsiteY14" fmla="*/ 88266 h 482702"/>
                  <a:gd name="connsiteX15" fmla="*/ 99299 w 405470"/>
                  <a:gd name="connsiteY15" fmla="*/ 88266 h 482702"/>
                  <a:gd name="connsiteX16" fmla="*/ 99299 w 405470"/>
                  <a:gd name="connsiteY16" fmla="*/ 226180 h 48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5470" h="482702">
                    <a:moveTo>
                      <a:pt x="295139" y="482702"/>
                    </a:moveTo>
                    <a:lnTo>
                      <a:pt x="171015" y="311688"/>
                    </a:lnTo>
                    <a:lnTo>
                      <a:pt x="99299" y="311688"/>
                    </a:lnTo>
                    <a:lnTo>
                      <a:pt x="99299" y="482702"/>
                    </a:lnTo>
                    <a:lnTo>
                      <a:pt x="0" y="482702"/>
                    </a:lnTo>
                    <a:lnTo>
                      <a:pt x="0" y="0"/>
                    </a:lnTo>
                    <a:lnTo>
                      <a:pt x="182048" y="0"/>
                    </a:lnTo>
                    <a:cubicBezTo>
                      <a:pt x="284106" y="0"/>
                      <a:pt x="355821" y="60683"/>
                      <a:pt x="355821" y="154465"/>
                    </a:cubicBezTo>
                    <a:cubicBezTo>
                      <a:pt x="355821" y="215147"/>
                      <a:pt x="322722" y="264797"/>
                      <a:pt x="270314" y="289621"/>
                    </a:cubicBezTo>
                    <a:lnTo>
                      <a:pt x="405471" y="479944"/>
                    </a:lnTo>
                    <a:lnTo>
                      <a:pt x="295139" y="479944"/>
                    </a:lnTo>
                    <a:close/>
                    <a:moveTo>
                      <a:pt x="99299" y="226180"/>
                    </a:moveTo>
                    <a:lnTo>
                      <a:pt x="182048" y="226180"/>
                    </a:lnTo>
                    <a:cubicBezTo>
                      <a:pt x="228940" y="226180"/>
                      <a:pt x="253764" y="198597"/>
                      <a:pt x="253764" y="157223"/>
                    </a:cubicBezTo>
                    <a:cubicBezTo>
                      <a:pt x="253764" y="115849"/>
                      <a:pt x="226181" y="88266"/>
                      <a:pt x="182048" y="88266"/>
                    </a:cubicBezTo>
                    <a:lnTo>
                      <a:pt x="99299" y="88266"/>
                    </a:lnTo>
                    <a:lnTo>
                      <a:pt x="99299" y="226180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フリーフォーム: 図形 59">
                <a:extLst>
                  <a:ext uri="{FF2B5EF4-FFF2-40B4-BE49-F238E27FC236}">
                    <a16:creationId xmlns:a16="http://schemas.microsoft.com/office/drawing/2014/main" id="{65026F62-C470-413A-9CBC-8586C346BFE7}"/>
                  </a:ext>
                </a:extLst>
              </p:cNvPr>
              <p:cNvSpPr/>
              <p:nvPr/>
            </p:nvSpPr>
            <p:spPr>
              <a:xfrm>
                <a:off x="9146684" y="3324184"/>
                <a:ext cx="361337" cy="380645"/>
              </a:xfrm>
              <a:custGeom>
                <a:avLst/>
                <a:gdLst>
                  <a:gd name="connsiteX0" fmla="*/ 353063 w 361337"/>
                  <a:gd name="connsiteY0" fmla="*/ 223422 h 380645"/>
                  <a:gd name="connsiteX1" fmla="*/ 99299 w 361337"/>
                  <a:gd name="connsiteY1" fmla="*/ 223422 h 380645"/>
                  <a:gd name="connsiteX2" fmla="*/ 201356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8 w 361337"/>
                  <a:gd name="connsiteY8" fmla="*/ 168256 h 380645"/>
                  <a:gd name="connsiteX9" fmla="*/ 353063 w 361337"/>
                  <a:gd name="connsiteY9" fmla="*/ 223422 h 380645"/>
                  <a:gd name="connsiteX10" fmla="*/ 99299 w 361337"/>
                  <a:gd name="connsiteY10" fmla="*/ 154465 h 380645"/>
                  <a:gd name="connsiteX11" fmla="*/ 264797 w 361337"/>
                  <a:gd name="connsiteY11" fmla="*/ 154465 h 380645"/>
                  <a:gd name="connsiteX12" fmla="*/ 187564 w 361337"/>
                  <a:gd name="connsiteY12" fmla="*/ 82749 h 380645"/>
                  <a:gd name="connsiteX13" fmla="*/ 99299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3063" y="223422"/>
                    </a:moveTo>
                    <a:lnTo>
                      <a:pt x="99299" y="223422"/>
                    </a:lnTo>
                    <a:cubicBezTo>
                      <a:pt x="110332" y="270313"/>
                      <a:pt x="148948" y="295138"/>
                      <a:pt x="201356" y="295138"/>
                    </a:cubicBezTo>
                    <a:cubicBezTo>
                      <a:pt x="239972" y="295138"/>
                      <a:pt x="273072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8" y="74474"/>
                      <a:pt x="361338" y="168256"/>
                    </a:cubicBezTo>
                    <a:cubicBezTo>
                      <a:pt x="361338" y="190323"/>
                      <a:pt x="358579" y="212389"/>
                      <a:pt x="353063" y="223422"/>
                    </a:cubicBezTo>
                    <a:moveTo>
                      <a:pt x="99299" y="154465"/>
                    </a:moveTo>
                    <a:lnTo>
                      <a:pt x="264797" y="154465"/>
                    </a:lnTo>
                    <a:cubicBezTo>
                      <a:pt x="264797" y="107574"/>
                      <a:pt x="228939" y="82749"/>
                      <a:pt x="187564" y="82749"/>
                    </a:cubicBezTo>
                    <a:cubicBezTo>
                      <a:pt x="146190" y="82749"/>
                      <a:pt x="113091" y="110332"/>
                      <a:pt x="99299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フリーフォーム: 図形 60">
                <a:extLst>
                  <a:ext uri="{FF2B5EF4-FFF2-40B4-BE49-F238E27FC236}">
                    <a16:creationId xmlns:a16="http://schemas.microsoft.com/office/drawing/2014/main" id="{96837FF3-86CA-4D74-86E1-FD9BABD60E74}"/>
                  </a:ext>
                </a:extLst>
              </p:cNvPr>
              <p:cNvSpPr/>
              <p:nvPr/>
            </p:nvSpPr>
            <p:spPr>
              <a:xfrm>
                <a:off x="9576979" y="3326942"/>
                <a:ext cx="383404" cy="499251"/>
              </a:xfrm>
              <a:custGeom>
                <a:avLst/>
                <a:gdLst>
                  <a:gd name="connsiteX0" fmla="*/ 383404 w 383404"/>
                  <a:gd name="connsiteY0" fmla="*/ 187564 h 499251"/>
                  <a:gd name="connsiteX1" fmla="*/ 206873 w 383404"/>
                  <a:gd name="connsiteY1" fmla="*/ 377887 h 499251"/>
                  <a:gd name="connsiteX2" fmla="*/ 99298 w 383404"/>
                  <a:gd name="connsiteY2" fmla="*/ 333754 h 499251"/>
                  <a:gd name="connsiteX3" fmla="*/ 99298 w 383404"/>
                  <a:gd name="connsiteY3" fmla="*/ 499252 h 499251"/>
                  <a:gd name="connsiteX4" fmla="*/ 0 w 383404"/>
                  <a:gd name="connsiteY4" fmla="*/ 499252 h 499251"/>
                  <a:gd name="connsiteX5" fmla="*/ 0 w 383404"/>
                  <a:gd name="connsiteY5" fmla="*/ 8275 h 499251"/>
                  <a:gd name="connsiteX6" fmla="*/ 91024 w 383404"/>
                  <a:gd name="connsiteY6" fmla="*/ 8275 h 499251"/>
                  <a:gd name="connsiteX7" fmla="*/ 91024 w 383404"/>
                  <a:gd name="connsiteY7" fmla="*/ 52408 h 499251"/>
                  <a:gd name="connsiteX8" fmla="*/ 206873 w 383404"/>
                  <a:gd name="connsiteY8" fmla="*/ 0 h 499251"/>
                  <a:gd name="connsiteX9" fmla="*/ 383404 w 383404"/>
                  <a:gd name="connsiteY9" fmla="*/ 187564 h 499251"/>
                  <a:gd name="connsiteX10" fmla="*/ 281346 w 383404"/>
                  <a:gd name="connsiteY10" fmla="*/ 187564 h 499251"/>
                  <a:gd name="connsiteX11" fmla="*/ 187564 w 383404"/>
                  <a:gd name="connsiteY11" fmla="*/ 88266 h 499251"/>
                  <a:gd name="connsiteX12" fmla="*/ 96541 w 383404"/>
                  <a:gd name="connsiteY12" fmla="*/ 187564 h 499251"/>
                  <a:gd name="connsiteX13" fmla="*/ 187564 w 383404"/>
                  <a:gd name="connsiteY13" fmla="*/ 286863 h 499251"/>
                  <a:gd name="connsiteX14" fmla="*/ 281346 w 383404"/>
                  <a:gd name="connsiteY14" fmla="*/ 187564 h 4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3404" h="499251">
                    <a:moveTo>
                      <a:pt x="383404" y="187564"/>
                    </a:moveTo>
                    <a:cubicBezTo>
                      <a:pt x="383404" y="295138"/>
                      <a:pt x="311688" y="377887"/>
                      <a:pt x="206873" y="377887"/>
                    </a:cubicBezTo>
                    <a:cubicBezTo>
                      <a:pt x="162740" y="377887"/>
                      <a:pt x="124124" y="361337"/>
                      <a:pt x="99298" y="333754"/>
                    </a:cubicBezTo>
                    <a:lnTo>
                      <a:pt x="99298" y="499252"/>
                    </a:lnTo>
                    <a:lnTo>
                      <a:pt x="0" y="499252"/>
                    </a:lnTo>
                    <a:lnTo>
                      <a:pt x="0" y="8275"/>
                    </a:lnTo>
                    <a:lnTo>
                      <a:pt x="91024" y="8275"/>
                    </a:lnTo>
                    <a:lnTo>
                      <a:pt x="91024" y="52408"/>
                    </a:lnTo>
                    <a:cubicBezTo>
                      <a:pt x="115848" y="19308"/>
                      <a:pt x="157223" y="0"/>
                      <a:pt x="206873" y="0"/>
                    </a:cubicBezTo>
                    <a:cubicBezTo>
                      <a:pt x="308930" y="0"/>
                      <a:pt x="383404" y="79991"/>
                      <a:pt x="383404" y="187564"/>
                    </a:cubicBezTo>
                    <a:moveTo>
                      <a:pt x="281346" y="187564"/>
                    </a:moveTo>
                    <a:cubicBezTo>
                      <a:pt x="281346" y="126882"/>
                      <a:pt x="239972" y="88266"/>
                      <a:pt x="187564" y="88266"/>
                    </a:cubicBezTo>
                    <a:cubicBezTo>
                      <a:pt x="143431" y="88266"/>
                      <a:pt x="96541" y="118607"/>
                      <a:pt x="96541" y="187564"/>
                    </a:cubicBezTo>
                    <a:cubicBezTo>
                      <a:pt x="96541" y="256522"/>
                      <a:pt x="140673" y="286863"/>
                      <a:pt x="187564" y="286863"/>
                    </a:cubicBezTo>
                    <a:cubicBezTo>
                      <a:pt x="239972" y="286863"/>
                      <a:pt x="281346" y="251005"/>
                      <a:pt x="281346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フリーフォーム: 図形 61">
                <a:extLst>
                  <a:ext uri="{FF2B5EF4-FFF2-40B4-BE49-F238E27FC236}">
                    <a16:creationId xmlns:a16="http://schemas.microsoft.com/office/drawing/2014/main" id="{1E7CD477-A31E-470F-A53A-3EF76D7CE4DE}"/>
                  </a:ext>
                </a:extLst>
              </p:cNvPr>
              <p:cNvSpPr/>
              <p:nvPr/>
            </p:nvSpPr>
            <p:spPr>
              <a:xfrm>
                <a:off x="10007274" y="3326942"/>
                <a:ext cx="388920" cy="377886"/>
              </a:xfrm>
              <a:custGeom>
                <a:avLst/>
                <a:gdLst>
                  <a:gd name="connsiteX0" fmla="*/ 388921 w 388920"/>
                  <a:gd name="connsiteY0" fmla="*/ 187564 h 377886"/>
                  <a:gd name="connsiteX1" fmla="*/ 193081 w 388920"/>
                  <a:gd name="connsiteY1" fmla="*/ 377887 h 377886"/>
                  <a:gd name="connsiteX2" fmla="*/ 0 w 388920"/>
                  <a:gd name="connsiteY2" fmla="*/ 187564 h 377886"/>
                  <a:gd name="connsiteX3" fmla="*/ 193081 w 388920"/>
                  <a:gd name="connsiteY3" fmla="*/ 0 h 377886"/>
                  <a:gd name="connsiteX4" fmla="*/ 388921 w 388920"/>
                  <a:gd name="connsiteY4" fmla="*/ 187564 h 377886"/>
                  <a:gd name="connsiteX5" fmla="*/ 99299 w 388920"/>
                  <a:gd name="connsiteY5" fmla="*/ 187564 h 377886"/>
                  <a:gd name="connsiteX6" fmla="*/ 193081 w 388920"/>
                  <a:gd name="connsiteY6" fmla="*/ 284105 h 377886"/>
                  <a:gd name="connsiteX7" fmla="*/ 286864 w 388920"/>
                  <a:gd name="connsiteY7" fmla="*/ 187564 h 377886"/>
                  <a:gd name="connsiteX8" fmla="*/ 193081 w 388920"/>
                  <a:gd name="connsiteY8" fmla="*/ 88266 h 377886"/>
                  <a:gd name="connsiteX9" fmla="*/ 99299 w 388920"/>
                  <a:gd name="connsiteY9" fmla="*/ 187564 h 37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920" h="377886">
                    <a:moveTo>
                      <a:pt x="388921" y="187564"/>
                    </a:moveTo>
                    <a:cubicBezTo>
                      <a:pt x="388921" y="295138"/>
                      <a:pt x="300656" y="377887"/>
                      <a:pt x="193081" y="377887"/>
                    </a:cubicBezTo>
                    <a:cubicBezTo>
                      <a:pt x="85508" y="377887"/>
                      <a:pt x="0" y="295138"/>
                      <a:pt x="0" y="187564"/>
                    </a:cubicBezTo>
                    <a:cubicBezTo>
                      <a:pt x="0" y="79991"/>
                      <a:pt x="85508" y="0"/>
                      <a:pt x="193081" y="0"/>
                    </a:cubicBezTo>
                    <a:cubicBezTo>
                      <a:pt x="300656" y="0"/>
                      <a:pt x="388921" y="79991"/>
                      <a:pt x="388921" y="187564"/>
                    </a:cubicBezTo>
                    <a:moveTo>
                      <a:pt x="99299" y="187564"/>
                    </a:moveTo>
                    <a:cubicBezTo>
                      <a:pt x="99299" y="245489"/>
                      <a:pt x="137915" y="284105"/>
                      <a:pt x="193081" y="284105"/>
                    </a:cubicBezTo>
                    <a:cubicBezTo>
                      <a:pt x="245490" y="284105"/>
                      <a:pt x="286864" y="242730"/>
                      <a:pt x="286864" y="187564"/>
                    </a:cubicBezTo>
                    <a:cubicBezTo>
                      <a:pt x="286864" y="129640"/>
                      <a:pt x="245490" y="88266"/>
                      <a:pt x="193081" y="88266"/>
                    </a:cubicBezTo>
                    <a:cubicBezTo>
                      <a:pt x="137915" y="88266"/>
                      <a:pt x="99299" y="132398"/>
                      <a:pt x="99299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フリーフォーム: 図形 62">
                <a:extLst>
                  <a:ext uri="{FF2B5EF4-FFF2-40B4-BE49-F238E27FC236}">
                    <a16:creationId xmlns:a16="http://schemas.microsoft.com/office/drawing/2014/main" id="{0CD08BB1-B43C-453C-A30D-DDB507C63699}"/>
                  </a:ext>
                </a:extLst>
              </p:cNvPr>
              <p:cNvSpPr/>
              <p:nvPr/>
            </p:nvSpPr>
            <p:spPr>
              <a:xfrm>
                <a:off x="10445845" y="3331317"/>
                <a:ext cx="223421" cy="362479"/>
              </a:xfrm>
              <a:custGeom>
                <a:avLst/>
                <a:gdLst>
                  <a:gd name="connsiteX0" fmla="*/ 223422 w 223421"/>
                  <a:gd name="connsiteY0" fmla="*/ 3901 h 362479"/>
                  <a:gd name="connsiteX1" fmla="*/ 223422 w 223421"/>
                  <a:gd name="connsiteY1" fmla="*/ 89408 h 362479"/>
                  <a:gd name="connsiteX2" fmla="*/ 195839 w 223421"/>
                  <a:gd name="connsiteY2" fmla="*/ 89408 h 362479"/>
                  <a:gd name="connsiteX3" fmla="*/ 99298 w 223421"/>
                  <a:gd name="connsiteY3" fmla="*/ 183190 h 362479"/>
                  <a:gd name="connsiteX4" fmla="*/ 99298 w 223421"/>
                  <a:gd name="connsiteY4" fmla="*/ 362480 h 362479"/>
                  <a:gd name="connsiteX5" fmla="*/ 0 w 223421"/>
                  <a:gd name="connsiteY5" fmla="*/ 362480 h 362479"/>
                  <a:gd name="connsiteX6" fmla="*/ 0 w 223421"/>
                  <a:gd name="connsiteY6" fmla="*/ 3901 h 362479"/>
                  <a:gd name="connsiteX7" fmla="*/ 91024 w 223421"/>
                  <a:gd name="connsiteY7" fmla="*/ 3901 h 362479"/>
                  <a:gd name="connsiteX8" fmla="*/ 91024 w 223421"/>
                  <a:gd name="connsiteY8" fmla="*/ 48034 h 362479"/>
                  <a:gd name="connsiteX9" fmla="*/ 190323 w 223421"/>
                  <a:gd name="connsiteY9" fmla="*/ 1143 h 362479"/>
                  <a:gd name="connsiteX10" fmla="*/ 223422 w 223421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1" h="362479">
                    <a:moveTo>
                      <a:pt x="223422" y="3901"/>
                    </a:moveTo>
                    <a:lnTo>
                      <a:pt x="223422" y="89408"/>
                    </a:lnTo>
                    <a:lnTo>
                      <a:pt x="195839" y="89408"/>
                    </a:lnTo>
                    <a:cubicBezTo>
                      <a:pt x="137915" y="89408"/>
                      <a:pt x="99298" y="119749"/>
                      <a:pt x="99298" y="183190"/>
                    </a:cubicBezTo>
                    <a:lnTo>
                      <a:pt x="99298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6873" y="-1616"/>
                      <a:pt x="215147" y="1143"/>
                      <a:pt x="223422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フリーフォーム: 図形 63">
                <a:extLst>
                  <a:ext uri="{FF2B5EF4-FFF2-40B4-BE49-F238E27FC236}">
                    <a16:creationId xmlns:a16="http://schemas.microsoft.com/office/drawing/2014/main" id="{DF038257-FE23-43DE-B14A-48A3388E79BF}"/>
                  </a:ext>
                </a:extLst>
              </p:cNvPr>
              <p:cNvSpPr/>
              <p:nvPr/>
            </p:nvSpPr>
            <p:spPr>
              <a:xfrm>
                <a:off x="10716158" y="3244194"/>
                <a:ext cx="267555" cy="460635"/>
              </a:xfrm>
              <a:custGeom>
                <a:avLst/>
                <a:gdLst>
                  <a:gd name="connsiteX0" fmla="*/ 267556 w 267555"/>
                  <a:gd name="connsiteY0" fmla="*/ 369612 h 460635"/>
                  <a:gd name="connsiteX1" fmla="*/ 267556 w 267555"/>
                  <a:gd name="connsiteY1" fmla="*/ 452361 h 460635"/>
                  <a:gd name="connsiteX2" fmla="*/ 198598 w 267555"/>
                  <a:gd name="connsiteY2" fmla="*/ 460636 h 460635"/>
                  <a:gd name="connsiteX3" fmla="*/ 55166 w 267555"/>
                  <a:gd name="connsiteY3" fmla="*/ 325479 h 460635"/>
                  <a:gd name="connsiteX4" fmla="*/ 55166 w 267555"/>
                  <a:gd name="connsiteY4" fmla="*/ 173773 h 460635"/>
                  <a:gd name="connsiteX5" fmla="*/ 0 w 267555"/>
                  <a:gd name="connsiteY5" fmla="*/ 173773 h 460635"/>
                  <a:gd name="connsiteX6" fmla="*/ 0 w 267555"/>
                  <a:gd name="connsiteY6" fmla="*/ 91024 h 460635"/>
                  <a:gd name="connsiteX7" fmla="*/ 57925 w 267555"/>
                  <a:gd name="connsiteY7" fmla="*/ 91024 h 460635"/>
                  <a:gd name="connsiteX8" fmla="*/ 57925 w 267555"/>
                  <a:gd name="connsiteY8" fmla="*/ 0 h 460635"/>
                  <a:gd name="connsiteX9" fmla="*/ 157224 w 267555"/>
                  <a:gd name="connsiteY9" fmla="*/ 0 h 460635"/>
                  <a:gd name="connsiteX10" fmla="*/ 157224 w 267555"/>
                  <a:gd name="connsiteY10" fmla="*/ 91024 h 460635"/>
                  <a:gd name="connsiteX11" fmla="*/ 259280 w 267555"/>
                  <a:gd name="connsiteY11" fmla="*/ 91024 h 460635"/>
                  <a:gd name="connsiteX12" fmla="*/ 259280 w 267555"/>
                  <a:gd name="connsiteY12" fmla="*/ 173773 h 460635"/>
                  <a:gd name="connsiteX13" fmla="*/ 157224 w 267555"/>
                  <a:gd name="connsiteY13" fmla="*/ 173773 h 460635"/>
                  <a:gd name="connsiteX14" fmla="*/ 157224 w 267555"/>
                  <a:gd name="connsiteY14" fmla="*/ 317204 h 460635"/>
                  <a:gd name="connsiteX15" fmla="*/ 223423 w 267555"/>
                  <a:gd name="connsiteY15" fmla="*/ 372370 h 460635"/>
                  <a:gd name="connsiteX16" fmla="*/ 267556 w 267555"/>
                  <a:gd name="connsiteY16" fmla="*/ 369612 h 460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555" h="460635">
                    <a:moveTo>
                      <a:pt x="267556" y="369612"/>
                    </a:moveTo>
                    <a:lnTo>
                      <a:pt x="267556" y="452361"/>
                    </a:lnTo>
                    <a:cubicBezTo>
                      <a:pt x="248247" y="457877"/>
                      <a:pt x="226181" y="460636"/>
                      <a:pt x="198598" y="460636"/>
                    </a:cubicBezTo>
                    <a:cubicBezTo>
                      <a:pt x="110332" y="460636"/>
                      <a:pt x="55166" y="416503"/>
                      <a:pt x="55166" y="325479"/>
                    </a:cubicBezTo>
                    <a:lnTo>
                      <a:pt x="55166" y="173773"/>
                    </a:lnTo>
                    <a:lnTo>
                      <a:pt x="0" y="173773"/>
                    </a:lnTo>
                    <a:lnTo>
                      <a:pt x="0" y="91024"/>
                    </a:lnTo>
                    <a:lnTo>
                      <a:pt x="57925" y="91024"/>
                    </a:lnTo>
                    <a:lnTo>
                      <a:pt x="57925" y="0"/>
                    </a:lnTo>
                    <a:lnTo>
                      <a:pt x="157224" y="0"/>
                    </a:lnTo>
                    <a:lnTo>
                      <a:pt x="157224" y="91024"/>
                    </a:lnTo>
                    <a:lnTo>
                      <a:pt x="259280" y="91024"/>
                    </a:lnTo>
                    <a:lnTo>
                      <a:pt x="259280" y="173773"/>
                    </a:lnTo>
                    <a:lnTo>
                      <a:pt x="157224" y="173773"/>
                    </a:lnTo>
                    <a:lnTo>
                      <a:pt x="157224" y="317204"/>
                    </a:lnTo>
                    <a:cubicBezTo>
                      <a:pt x="157224" y="358579"/>
                      <a:pt x="179290" y="372370"/>
                      <a:pt x="223423" y="372370"/>
                    </a:cubicBezTo>
                    <a:cubicBezTo>
                      <a:pt x="234456" y="372370"/>
                      <a:pt x="251006" y="369612"/>
                      <a:pt x="267556" y="369612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フリーフォーム: 図形 64">
                <a:extLst>
                  <a:ext uri="{FF2B5EF4-FFF2-40B4-BE49-F238E27FC236}">
                    <a16:creationId xmlns:a16="http://schemas.microsoft.com/office/drawing/2014/main" id="{C2508538-EFF0-4692-91AC-F759F26178CA}"/>
                  </a:ext>
                </a:extLst>
              </p:cNvPr>
              <p:cNvSpPr/>
              <p:nvPr/>
            </p:nvSpPr>
            <p:spPr>
              <a:xfrm>
                <a:off x="11025089" y="3324184"/>
                <a:ext cx="361337" cy="380645"/>
              </a:xfrm>
              <a:custGeom>
                <a:avLst/>
                <a:gdLst>
                  <a:gd name="connsiteX0" fmla="*/ 350304 w 361337"/>
                  <a:gd name="connsiteY0" fmla="*/ 223422 h 380645"/>
                  <a:gd name="connsiteX1" fmla="*/ 96541 w 361337"/>
                  <a:gd name="connsiteY1" fmla="*/ 223422 h 380645"/>
                  <a:gd name="connsiteX2" fmla="*/ 198597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7 w 361337"/>
                  <a:gd name="connsiteY8" fmla="*/ 168256 h 380645"/>
                  <a:gd name="connsiteX9" fmla="*/ 350304 w 361337"/>
                  <a:gd name="connsiteY9" fmla="*/ 223422 h 380645"/>
                  <a:gd name="connsiteX10" fmla="*/ 96541 w 361337"/>
                  <a:gd name="connsiteY10" fmla="*/ 154465 h 380645"/>
                  <a:gd name="connsiteX11" fmla="*/ 262039 w 361337"/>
                  <a:gd name="connsiteY11" fmla="*/ 154465 h 380645"/>
                  <a:gd name="connsiteX12" fmla="*/ 184806 w 361337"/>
                  <a:gd name="connsiteY12" fmla="*/ 82749 h 380645"/>
                  <a:gd name="connsiteX13" fmla="*/ 96541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0304" y="223422"/>
                    </a:moveTo>
                    <a:lnTo>
                      <a:pt x="96541" y="223422"/>
                    </a:lnTo>
                    <a:cubicBezTo>
                      <a:pt x="107574" y="270313"/>
                      <a:pt x="146190" y="295138"/>
                      <a:pt x="198597" y="295138"/>
                    </a:cubicBezTo>
                    <a:cubicBezTo>
                      <a:pt x="237213" y="295138"/>
                      <a:pt x="270313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7" y="74474"/>
                      <a:pt x="361337" y="168256"/>
                    </a:cubicBezTo>
                    <a:cubicBezTo>
                      <a:pt x="355821" y="190323"/>
                      <a:pt x="353063" y="212389"/>
                      <a:pt x="350304" y="223422"/>
                    </a:cubicBezTo>
                    <a:moveTo>
                      <a:pt x="96541" y="154465"/>
                    </a:moveTo>
                    <a:lnTo>
                      <a:pt x="262039" y="154465"/>
                    </a:lnTo>
                    <a:cubicBezTo>
                      <a:pt x="262039" y="107574"/>
                      <a:pt x="226180" y="82749"/>
                      <a:pt x="184806" y="82749"/>
                    </a:cubicBezTo>
                    <a:cubicBezTo>
                      <a:pt x="140673" y="82749"/>
                      <a:pt x="107574" y="110332"/>
                      <a:pt x="96541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フリーフォーム: 図形 65">
                <a:extLst>
                  <a:ext uri="{FF2B5EF4-FFF2-40B4-BE49-F238E27FC236}">
                    <a16:creationId xmlns:a16="http://schemas.microsoft.com/office/drawing/2014/main" id="{0F783D43-ABC5-48FE-89A3-E27C59CC34E8}"/>
                  </a:ext>
                </a:extLst>
              </p:cNvPr>
              <p:cNvSpPr/>
              <p:nvPr/>
            </p:nvSpPr>
            <p:spPr>
              <a:xfrm>
                <a:off x="11449867" y="3331317"/>
                <a:ext cx="223422" cy="362479"/>
              </a:xfrm>
              <a:custGeom>
                <a:avLst/>
                <a:gdLst>
                  <a:gd name="connsiteX0" fmla="*/ 223423 w 223422"/>
                  <a:gd name="connsiteY0" fmla="*/ 3901 h 362479"/>
                  <a:gd name="connsiteX1" fmla="*/ 223423 w 223422"/>
                  <a:gd name="connsiteY1" fmla="*/ 89408 h 362479"/>
                  <a:gd name="connsiteX2" fmla="*/ 195840 w 223422"/>
                  <a:gd name="connsiteY2" fmla="*/ 89408 h 362479"/>
                  <a:gd name="connsiteX3" fmla="*/ 99299 w 223422"/>
                  <a:gd name="connsiteY3" fmla="*/ 183190 h 362479"/>
                  <a:gd name="connsiteX4" fmla="*/ 99299 w 223422"/>
                  <a:gd name="connsiteY4" fmla="*/ 362480 h 362479"/>
                  <a:gd name="connsiteX5" fmla="*/ 0 w 223422"/>
                  <a:gd name="connsiteY5" fmla="*/ 362480 h 362479"/>
                  <a:gd name="connsiteX6" fmla="*/ 0 w 223422"/>
                  <a:gd name="connsiteY6" fmla="*/ 3901 h 362479"/>
                  <a:gd name="connsiteX7" fmla="*/ 91024 w 223422"/>
                  <a:gd name="connsiteY7" fmla="*/ 3901 h 362479"/>
                  <a:gd name="connsiteX8" fmla="*/ 91024 w 223422"/>
                  <a:gd name="connsiteY8" fmla="*/ 48034 h 362479"/>
                  <a:gd name="connsiteX9" fmla="*/ 190323 w 223422"/>
                  <a:gd name="connsiteY9" fmla="*/ 1143 h 362479"/>
                  <a:gd name="connsiteX10" fmla="*/ 223423 w 223422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2" h="362479">
                    <a:moveTo>
                      <a:pt x="223423" y="3901"/>
                    </a:moveTo>
                    <a:lnTo>
                      <a:pt x="223423" y="89408"/>
                    </a:lnTo>
                    <a:lnTo>
                      <a:pt x="195840" y="89408"/>
                    </a:lnTo>
                    <a:cubicBezTo>
                      <a:pt x="137915" y="89408"/>
                      <a:pt x="99299" y="119749"/>
                      <a:pt x="99299" y="183190"/>
                    </a:cubicBezTo>
                    <a:lnTo>
                      <a:pt x="99299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4114" y="-1616"/>
                      <a:pt x="212389" y="1143"/>
                      <a:pt x="223423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" name="グループ化 46">
              <a:extLst>
                <a:ext uri="{FF2B5EF4-FFF2-40B4-BE49-F238E27FC236}">
                  <a16:creationId xmlns:a16="http://schemas.microsoft.com/office/drawing/2014/main" id="{9940729E-8488-497E-BE84-F48D50273E5F}"/>
                </a:ext>
              </a:extLst>
            </p:cNvPr>
            <p:cNvGrpSpPr/>
            <p:nvPr/>
          </p:nvGrpSpPr>
          <p:grpSpPr>
            <a:xfrm>
              <a:off x="6716618" y="1385538"/>
              <a:ext cx="1186070" cy="1186068"/>
              <a:chOff x="6716618" y="2835966"/>
              <a:chExt cx="1186070" cy="1186068"/>
            </a:xfrm>
          </p:grpSpPr>
          <p:sp>
            <p:nvSpPr>
              <p:cNvPr id="48" name="フリーフォーム: 図形 47">
                <a:extLst>
                  <a:ext uri="{FF2B5EF4-FFF2-40B4-BE49-F238E27FC236}">
                    <a16:creationId xmlns:a16="http://schemas.microsoft.com/office/drawing/2014/main" id="{BBF0947F-04CE-423A-8010-8B56DD63820B}"/>
                  </a:ext>
                </a:extLst>
              </p:cNvPr>
              <p:cNvSpPr/>
              <p:nvPr/>
            </p:nvSpPr>
            <p:spPr>
              <a:xfrm>
                <a:off x="6716618" y="2835966"/>
                <a:ext cx="1186070" cy="1186068"/>
              </a:xfrm>
              <a:custGeom>
                <a:avLst/>
                <a:gdLst>
                  <a:gd name="connsiteX0" fmla="*/ 855074 w 1186070"/>
                  <a:gd name="connsiteY0" fmla="*/ 1186068 h 1186068"/>
                  <a:gd name="connsiteX1" fmla="*/ 330996 w 1186070"/>
                  <a:gd name="connsiteY1" fmla="*/ 1186068 h 1186068"/>
                  <a:gd name="connsiteX2" fmla="*/ 0 w 1186070"/>
                  <a:gd name="connsiteY2" fmla="*/ 855072 h 1186068"/>
                  <a:gd name="connsiteX3" fmla="*/ 0 w 1186070"/>
                  <a:gd name="connsiteY3" fmla="*/ 330996 h 1186068"/>
                  <a:gd name="connsiteX4" fmla="*/ 330996 w 1186070"/>
                  <a:gd name="connsiteY4" fmla="*/ 0 h 1186068"/>
                  <a:gd name="connsiteX5" fmla="*/ 855074 w 1186070"/>
                  <a:gd name="connsiteY5" fmla="*/ 0 h 1186068"/>
                  <a:gd name="connsiteX6" fmla="*/ 1186071 w 1186070"/>
                  <a:gd name="connsiteY6" fmla="*/ 330996 h 1186068"/>
                  <a:gd name="connsiteX7" fmla="*/ 1186071 w 1186070"/>
                  <a:gd name="connsiteY7" fmla="*/ 855072 h 1186068"/>
                  <a:gd name="connsiteX8" fmla="*/ 855074 w 1186070"/>
                  <a:gd name="connsiteY8" fmla="*/ 1186068 h 118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6070" h="1186068">
                    <a:moveTo>
                      <a:pt x="855074" y="1186068"/>
                    </a:moveTo>
                    <a:lnTo>
                      <a:pt x="330996" y="1186068"/>
                    </a:lnTo>
                    <a:cubicBezTo>
                      <a:pt x="148948" y="1186068"/>
                      <a:pt x="0" y="1037120"/>
                      <a:pt x="0" y="855072"/>
                    </a:cubicBezTo>
                    <a:lnTo>
                      <a:pt x="0" y="330996"/>
                    </a:lnTo>
                    <a:cubicBezTo>
                      <a:pt x="0" y="148948"/>
                      <a:pt x="148948" y="0"/>
                      <a:pt x="330996" y="0"/>
                    </a:cubicBezTo>
                    <a:lnTo>
                      <a:pt x="855074" y="0"/>
                    </a:lnTo>
                    <a:cubicBezTo>
                      <a:pt x="1037122" y="0"/>
                      <a:pt x="1186071" y="148948"/>
                      <a:pt x="1186071" y="330996"/>
                    </a:cubicBezTo>
                    <a:lnTo>
                      <a:pt x="1186071" y="855072"/>
                    </a:lnTo>
                    <a:cubicBezTo>
                      <a:pt x="1186071" y="1037120"/>
                      <a:pt x="1037122" y="1186068"/>
                      <a:pt x="855074" y="1186068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フリーフォーム: 図形 48">
                <a:extLst>
                  <a:ext uri="{FF2B5EF4-FFF2-40B4-BE49-F238E27FC236}">
                    <a16:creationId xmlns:a16="http://schemas.microsoft.com/office/drawing/2014/main" id="{DD0126B5-C518-4E82-A2FD-5FD8A15CA376}"/>
                  </a:ext>
                </a:extLst>
              </p:cNvPr>
              <p:cNvSpPr/>
              <p:nvPr/>
            </p:nvSpPr>
            <p:spPr>
              <a:xfrm rot="20158655">
                <a:off x="7610164" y="3091689"/>
                <a:ext cx="55166" cy="74475"/>
              </a:xfrm>
              <a:custGeom>
                <a:avLst/>
                <a:gdLst>
                  <a:gd name="connsiteX0" fmla="*/ 0 w 55166"/>
                  <a:gd name="connsiteY0" fmla="*/ 0 h 74475"/>
                  <a:gd name="connsiteX1" fmla="*/ 55167 w 55166"/>
                  <a:gd name="connsiteY1" fmla="*/ 0 h 74475"/>
                  <a:gd name="connsiteX2" fmla="*/ 55167 w 55166"/>
                  <a:gd name="connsiteY2" fmla="*/ 74475 h 74475"/>
                  <a:gd name="connsiteX3" fmla="*/ 0 w 55166"/>
                  <a:gd name="connsiteY3" fmla="*/ 74475 h 74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66" h="74475">
                    <a:moveTo>
                      <a:pt x="0" y="0"/>
                    </a:moveTo>
                    <a:lnTo>
                      <a:pt x="55167" y="0"/>
                    </a:lnTo>
                    <a:lnTo>
                      <a:pt x="55167" y="74475"/>
                    </a:lnTo>
                    <a:lnTo>
                      <a:pt x="0" y="74475"/>
                    </a:lnTo>
                    <a:close/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フリーフォーム: 図形 49">
                <a:extLst>
                  <a:ext uri="{FF2B5EF4-FFF2-40B4-BE49-F238E27FC236}">
                    <a16:creationId xmlns:a16="http://schemas.microsoft.com/office/drawing/2014/main" id="{D74BF6B6-F35B-4EAE-9A63-5C1D804E94D6}"/>
                  </a:ext>
                </a:extLst>
              </p:cNvPr>
              <p:cNvSpPr/>
              <p:nvPr/>
            </p:nvSpPr>
            <p:spPr>
              <a:xfrm>
                <a:off x="7058647" y="3136508"/>
                <a:ext cx="353062" cy="132809"/>
              </a:xfrm>
              <a:custGeom>
                <a:avLst/>
                <a:gdLst>
                  <a:gd name="connsiteX0" fmla="*/ 88266 w 353062"/>
                  <a:gd name="connsiteY0" fmla="*/ 132510 h 132809"/>
                  <a:gd name="connsiteX1" fmla="*/ 104816 w 353062"/>
                  <a:gd name="connsiteY1" fmla="*/ 129752 h 132809"/>
                  <a:gd name="connsiteX2" fmla="*/ 353063 w 353062"/>
                  <a:gd name="connsiteY2" fmla="*/ 19420 h 132809"/>
                  <a:gd name="connsiteX3" fmla="*/ 330996 w 353062"/>
                  <a:gd name="connsiteY3" fmla="*/ 8387 h 132809"/>
                  <a:gd name="connsiteX4" fmla="*/ 275830 w 353062"/>
                  <a:gd name="connsiteY4" fmla="*/ 2870 h 132809"/>
                  <a:gd name="connsiteX5" fmla="*/ 35858 w 353062"/>
                  <a:gd name="connsiteY5" fmla="*/ 52519 h 132809"/>
                  <a:gd name="connsiteX6" fmla="*/ 0 w 353062"/>
                  <a:gd name="connsiteY6" fmla="*/ 69069 h 132809"/>
                  <a:gd name="connsiteX7" fmla="*/ 8275 w 353062"/>
                  <a:gd name="connsiteY7" fmla="*/ 93894 h 132809"/>
                  <a:gd name="connsiteX8" fmla="*/ 88266 w 353062"/>
                  <a:gd name="connsiteY8" fmla="*/ 132510 h 13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062" h="132809">
                    <a:moveTo>
                      <a:pt x="88266" y="132510"/>
                    </a:moveTo>
                    <a:cubicBezTo>
                      <a:pt x="88266" y="132510"/>
                      <a:pt x="93783" y="132510"/>
                      <a:pt x="104816" y="129752"/>
                    </a:cubicBezTo>
                    <a:lnTo>
                      <a:pt x="353063" y="19420"/>
                    </a:lnTo>
                    <a:cubicBezTo>
                      <a:pt x="344788" y="16662"/>
                      <a:pt x="339271" y="13903"/>
                      <a:pt x="330996" y="8387"/>
                    </a:cubicBezTo>
                    <a:cubicBezTo>
                      <a:pt x="314447" y="112"/>
                      <a:pt x="295139" y="-2647"/>
                      <a:pt x="275830" y="2870"/>
                    </a:cubicBezTo>
                    <a:cubicBezTo>
                      <a:pt x="195840" y="22178"/>
                      <a:pt x="115849" y="47003"/>
                      <a:pt x="35858" y="52519"/>
                    </a:cubicBezTo>
                    <a:cubicBezTo>
                      <a:pt x="22067" y="52519"/>
                      <a:pt x="2758" y="52519"/>
                      <a:pt x="0" y="69069"/>
                    </a:cubicBezTo>
                    <a:cubicBezTo>
                      <a:pt x="0" y="77344"/>
                      <a:pt x="2758" y="85619"/>
                      <a:pt x="8275" y="93894"/>
                    </a:cubicBezTo>
                    <a:cubicBezTo>
                      <a:pt x="30342" y="118719"/>
                      <a:pt x="60683" y="135268"/>
                      <a:pt x="88266" y="132510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フリーフォーム: 図形 50">
                <a:extLst>
                  <a:ext uri="{FF2B5EF4-FFF2-40B4-BE49-F238E27FC236}">
                    <a16:creationId xmlns:a16="http://schemas.microsoft.com/office/drawing/2014/main" id="{67290974-F494-48C8-8634-E22283550105}"/>
                  </a:ext>
                </a:extLst>
              </p:cNvPr>
              <p:cNvSpPr/>
              <p:nvPr/>
            </p:nvSpPr>
            <p:spPr>
              <a:xfrm>
                <a:off x="7053131" y="3302118"/>
                <a:ext cx="110332" cy="115848"/>
              </a:xfrm>
              <a:custGeom>
                <a:avLst/>
                <a:gdLst>
                  <a:gd name="connsiteX0" fmla="*/ 102057 w 110332"/>
                  <a:gd name="connsiteY0" fmla="*/ 82749 h 115848"/>
                  <a:gd name="connsiteX1" fmla="*/ 110332 w 110332"/>
                  <a:gd name="connsiteY1" fmla="*/ 0 h 115848"/>
                  <a:gd name="connsiteX2" fmla="*/ 107574 w 110332"/>
                  <a:gd name="connsiteY2" fmla="*/ 0 h 115848"/>
                  <a:gd name="connsiteX3" fmla="*/ 0 w 110332"/>
                  <a:gd name="connsiteY3" fmla="*/ 46891 h 115848"/>
                  <a:gd name="connsiteX4" fmla="*/ 30342 w 110332"/>
                  <a:gd name="connsiteY4" fmla="*/ 115849 h 115848"/>
                  <a:gd name="connsiteX5" fmla="*/ 102057 w 110332"/>
                  <a:gd name="connsiteY5" fmla="*/ 82749 h 115848"/>
                  <a:gd name="connsiteX6" fmla="*/ 102057 w 110332"/>
                  <a:gd name="connsiteY6" fmla="*/ 82749 h 11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32" h="115848">
                    <a:moveTo>
                      <a:pt x="102057" y="82749"/>
                    </a:moveTo>
                    <a:cubicBezTo>
                      <a:pt x="91024" y="55166"/>
                      <a:pt x="93783" y="22066"/>
                      <a:pt x="110332" y="0"/>
                    </a:cubicBezTo>
                    <a:cubicBezTo>
                      <a:pt x="110332" y="0"/>
                      <a:pt x="107574" y="0"/>
                      <a:pt x="107574" y="0"/>
                    </a:cubicBezTo>
                    <a:lnTo>
                      <a:pt x="0" y="46891"/>
                    </a:lnTo>
                    <a:lnTo>
                      <a:pt x="30342" y="115849"/>
                    </a:lnTo>
                    <a:lnTo>
                      <a:pt x="102057" y="82749"/>
                    </a:lnTo>
                    <a:cubicBezTo>
                      <a:pt x="102057" y="82749"/>
                      <a:pt x="102057" y="82749"/>
                      <a:pt x="102057" y="8274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フリーフォーム: 図形 51">
                <a:extLst>
                  <a:ext uri="{FF2B5EF4-FFF2-40B4-BE49-F238E27FC236}">
                    <a16:creationId xmlns:a16="http://schemas.microsoft.com/office/drawing/2014/main" id="{5EDE6DAD-EC84-41CE-AA58-CD262F83CA88}"/>
                  </a:ext>
                </a:extLst>
              </p:cNvPr>
              <p:cNvSpPr/>
              <p:nvPr/>
            </p:nvSpPr>
            <p:spPr>
              <a:xfrm>
                <a:off x="7114503" y="3420725"/>
                <a:ext cx="117917" cy="116403"/>
              </a:xfrm>
              <a:custGeom>
                <a:avLst/>
                <a:gdLst>
                  <a:gd name="connsiteX0" fmla="*/ 117917 w 117917"/>
                  <a:gd name="connsiteY0" fmla="*/ 52408 h 116403"/>
                  <a:gd name="connsiteX1" fmla="*/ 65510 w 117917"/>
                  <a:gd name="connsiteY1" fmla="*/ 0 h 116403"/>
                  <a:gd name="connsiteX2" fmla="*/ 10344 w 117917"/>
                  <a:gd name="connsiteY2" fmla="*/ 49649 h 116403"/>
                  <a:gd name="connsiteX3" fmla="*/ 10344 w 117917"/>
                  <a:gd name="connsiteY3" fmla="*/ 102057 h 116403"/>
                  <a:gd name="connsiteX4" fmla="*/ 62751 w 117917"/>
                  <a:gd name="connsiteY4" fmla="*/ 107574 h 116403"/>
                  <a:gd name="connsiteX5" fmla="*/ 117917 w 117917"/>
                  <a:gd name="connsiteY5" fmla="*/ 52408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403">
                    <a:moveTo>
                      <a:pt x="117917" y="52408"/>
                    </a:moveTo>
                    <a:cubicBezTo>
                      <a:pt x="101368" y="35858"/>
                      <a:pt x="82059" y="19308"/>
                      <a:pt x="65510" y="0"/>
                    </a:cubicBezTo>
                    <a:cubicBezTo>
                      <a:pt x="46202" y="19308"/>
                      <a:pt x="29652" y="35858"/>
                      <a:pt x="10344" y="49649"/>
                    </a:cubicBezTo>
                    <a:cubicBezTo>
                      <a:pt x="-3448" y="60683"/>
                      <a:pt x="-3448" y="85507"/>
                      <a:pt x="10344" y="102057"/>
                    </a:cubicBezTo>
                    <a:cubicBezTo>
                      <a:pt x="24135" y="118607"/>
                      <a:pt x="48960" y="121365"/>
                      <a:pt x="62751" y="107574"/>
                    </a:cubicBezTo>
                    <a:cubicBezTo>
                      <a:pt x="82059" y="91024"/>
                      <a:pt x="101368" y="71716"/>
                      <a:pt x="117917" y="52408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フリーフォーム: 図形 52">
                <a:extLst>
                  <a:ext uri="{FF2B5EF4-FFF2-40B4-BE49-F238E27FC236}">
                    <a16:creationId xmlns:a16="http://schemas.microsoft.com/office/drawing/2014/main" id="{7D67B412-9062-4612-ADFC-6531862E30D0}"/>
                  </a:ext>
                </a:extLst>
              </p:cNvPr>
              <p:cNvSpPr/>
              <p:nvPr/>
            </p:nvSpPr>
            <p:spPr>
              <a:xfrm>
                <a:off x="7188977" y="3489682"/>
                <a:ext cx="117917" cy="116640"/>
              </a:xfrm>
              <a:custGeom>
                <a:avLst/>
                <a:gdLst>
                  <a:gd name="connsiteX0" fmla="*/ 10344 w 117917"/>
                  <a:gd name="connsiteY0" fmla="*/ 57924 h 116640"/>
                  <a:gd name="connsiteX1" fmla="*/ 10344 w 117917"/>
                  <a:gd name="connsiteY1" fmla="*/ 107574 h 116640"/>
                  <a:gd name="connsiteX2" fmla="*/ 62751 w 117917"/>
                  <a:gd name="connsiteY2" fmla="*/ 104815 h 116640"/>
                  <a:gd name="connsiteX3" fmla="*/ 117917 w 117917"/>
                  <a:gd name="connsiteY3" fmla="*/ 44133 h 116640"/>
                  <a:gd name="connsiteX4" fmla="*/ 65510 w 117917"/>
                  <a:gd name="connsiteY4" fmla="*/ 0 h 116640"/>
                  <a:gd name="connsiteX5" fmla="*/ 10344 w 117917"/>
                  <a:gd name="connsiteY5" fmla="*/ 57924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640">
                    <a:moveTo>
                      <a:pt x="10344" y="57924"/>
                    </a:moveTo>
                    <a:cubicBezTo>
                      <a:pt x="-3448" y="71716"/>
                      <a:pt x="-3448" y="93782"/>
                      <a:pt x="10344" y="107574"/>
                    </a:cubicBezTo>
                    <a:cubicBezTo>
                      <a:pt x="24135" y="121365"/>
                      <a:pt x="48960" y="118607"/>
                      <a:pt x="62751" y="104815"/>
                    </a:cubicBezTo>
                    <a:cubicBezTo>
                      <a:pt x="82060" y="85507"/>
                      <a:pt x="98609" y="66199"/>
                      <a:pt x="117917" y="44133"/>
                    </a:cubicBezTo>
                    <a:cubicBezTo>
                      <a:pt x="101368" y="30341"/>
                      <a:pt x="82060" y="16550"/>
                      <a:pt x="65510" y="0"/>
                    </a:cubicBezTo>
                    <a:cubicBezTo>
                      <a:pt x="46202" y="22066"/>
                      <a:pt x="29652" y="41374"/>
                      <a:pt x="10344" y="57924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フリーフォーム: 図形 53">
                <a:extLst>
                  <a:ext uri="{FF2B5EF4-FFF2-40B4-BE49-F238E27FC236}">
                    <a16:creationId xmlns:a16="http://schemas.microsoft.com/office/drawing/2014/main" id="{DCA40B73-8661-4BFF-8B74-A6A2DBEE3D80}"/>
                  </a:ext>
                </a:extLst>
              </p:cNvPr>
              <p:cNvSpPr/>
              <p:nvPr/>
            </p:nvSpPr>
            <p:spPr>
              <a:xfrm>
                <a:off x="7178117" y="3238677"/>
                <a:ext cx="564590" cy="532351"/>
              </a:xfrm>
              <a:custGeom>
                <a:avLst/>
                <a:gdLst>
                  <a:gd name="connsiteX0" fmla="*/ 559074 w 564590"/>
                  <a:gd name="connsiteY0" fmla="*/ 375129 h 532351"/>
                  <a:gd name="connsiteX1" fmla="*/ 528732 w 564590"/>
                  <a:gd name="connsiteY1" fmla="*/ 336512 h 532351"/>
                  <a:gd name="connsiteX2" fmla="*/ 484599 w 564590"/>
                  <a:gd name="connsiteY2" fmla="*/ 253763 h 532351"/>
                  <a:gd name="connsiteX3" fmla="*/ 451500 w 564590"/>
                  <a:gd name="connsiteY3" fmla="*/ 154465 h 532351"/>
                  <a:gd name="connsiteX4" fmla="*/ 412884 w 564590"/>
                  <a:gd name="connsiteY4" fmla="*/ 55166 h 532351"/>
                  <a:gd name="connsiteX5" fmla="*/ 407367 w 564590"/>
                  <a:gd name="connsiteY5" fmla="*/ 46891 h 532351"/>
                  <a:gd name="connsiteX6" fmla="*/ 377025 w 564590"/>
                  <a:gd name="connsiteY6" fmla="*/ 0 h 532351"/>
                  <a:gd name="connsiteX7" fmla="*/ 363234 w 564590"/>
                  <a:gd name="connsiteY7" fmla="*/ 5517 h 532351"/>
                  <a:gd name="connsiteX8" fmla="*/ 363234 w 564590"/>
                  <a:gd name="connsiteY8" fmla="*/ 5517 h 532351"/>
                  <a:gd name="connsiteX9" fmla="*/ 228077 w 564590"/>
                  <a:gd name="connsiteY9" fmla="*/ 66199 h 532351"/>
                  <a:gd name="connsiteX10" fmla="*/ 159120 w 564590"/>
                  <a:gd name="connsiteY10" fmla="*/ 96540 h 532351"/>
                  <a:gd name="connsiteX11" fmla="*/ 159120 w 564590"/>
                  <a:gd name="connsiteY11" fmla="*/ 96540 h 532351"/>
                  <a:gd name="connsiteX12" fmla="*/ 159120 w 564590"/>
                  <a:gd name="connsiteY12" fmla="*/ 96540 h 532351"/>
                  <a:gd name="connsiteX13" fmla="*/ 181186 w 564590"/>
                  <a:gd name="connsiteY13" fmla="*/ 115848 h 532351"/>
                  <a:gd name="connsiteX14" fmla="*/ 200494 w 564590"/>
                  <a:gd name="connsiteY14" fmla="*/ 129640 h 532351"/>
                  <a:gd name="connsiteX15" fmla="*/ 230836 w 564590"/>
                  <a:gd name="connsiteY15" fmla="*/ 151706 h 532351"/>
                  <a:gd name="connsiteX16" fmla="*/ 338409 w 564590"/>
                  <a:gd name="connsiteY16" fmla="*/ 168256 h 532351"/>
                  <a:gd name="connsiteX17" fmla="*/ 352201 w 564590"/>
                  <a:gd name="connsiteY17" fmla="*/ 179289 h 532351"/>
                  <a:gd name="connsiteX18" fmla="*/ 338409 w 564590"/>
                  <a:gd name="connsiteY18" fmla="*/ 198597 h 532351"/>
                  <a:gd name="connsiteX19" fmla="*/ 208769 w 564590"/>
                  <a:gd name="connsiteY19" fmla="*/ 179289 h 532351"/>
                  <a:gd name="connsiteX20" fmla="*/ 206011 w 564590"/>
                  <a:gd name="connsiteY20" fmla="*/ 179289 h 532351"/>
                  <a:gd name="connsiteX21" fmla="*/ 139812 w 564590"/>
                  <a:gd name="connsiteY21" fmla="*/ 129640 h 532351"/>
                  <a:gd name="connsiteX22" fmla="*/ 114987 w 564590"/>
                  <a:gd name="connsiteY22" fmla="*/ 107574 h 532351"/>
                  <a:gd name="connsiteX23" fmla="*/ 95679 w 564590"/>
                  <a:gd name="connsiteY23" fmla="*/ 91024 h 532351"/>
                  <a:gd name="connsiteX24" fmla="*/ 76371 w 564590"/>
                  <a:gd name="connsiteY24" fmla="*/ 71716 h 532351"/>
                  <a:gd name="connsiteX25" fmla="*/ 12929 w 564590"/>
                  <a:gd name="connsiteY25" fmla="*/ 74474 h 532351"/>
                  <a:gd name="connsiteX26" fmla="*/ 4654 w 564590"/>
                  <a:gd name="connsiteY26" fmla="*/ 132398 h 532351"/>
                  <a:gd name="connsiteX27" fmla="*/ 34996 w 564590"/>
                  <a:gd name="connsiteY27" fmla="*/ 165498 h 532351"/>
                  <a:gd name="connsiteX28" fmla="*/ 87404 w 564590"/>
                  <a:gd name="connsiteY28" fmla="*/ 215147 h 532351"/>
                  <a:gd name="connsiteX29" fmla="*/ 161878 w 564590"/>
                  <a:gd name="connsiteY29" fmla="*/ 273071 h 532351"/>
                  <a:gd name="connsiteX30" fmla="*/ 167395 w 564590"/>
                  <a:gd name="connsiteY30" fmla="*/ 281346 h 532351"/>
                  <a:gd name="connsiteX31" fmla="*/ 219802 w 564590"/>
                  <a:gd name="connsiteY31" fmla="*/ 408228 h 532351"/>
                  <a:gd name="connsiteX32" fmla="*/ 272210 w 564590"/>
                  <a:gd name="connsiteY32" fmla="*/ 438569 h 532351"/>
                  <a:gd name="connsiteX33" fmla="*/ 330134 w 564590"/>
                  <a:gd name="connsiteY33" fmla="*/ 452361 h 532351"/>
                  <a:gd name="connsiteX34" fmla="*/ 363234 w 564590"/>
                  <a:gd name="connsiteY34" fmla="*/ 466152 h 532351"/>
                  <a:gd name="connsiteX35" fmla="*/ 423917 w 564590"/>
                  <a:gd name="connsiteY35" fmla="*/ 532352 h 532351"/>
                  <a:gd name="connsiteX36" fmla="*/ 501149 w 564590"/>
                  <a:gd name="connsiteY36" fmla="*/ 441328 h 532351"/>
                  <a:gd name="connsiteX37" fmla="*/ 564591 w 564590"/>
                  <a:gd name="connsiteY37" fmla="*/ 383403 h 532351"/>
                  <a:gd name="connsiteX38" fmla="*/ 559074 w 564590"/>
                  <a:gd name="connsiteY38" fmla="*/ 375129 h 53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64590" h="532351">
                    <a:moveTo>
                      <a:pt x="559074" y="375129"/>
                    </a:moveTo>
                    <a:cubicBezTo>
                      <a:pt x="548041" y="361337"/>
                      <a:pt x="537008" y="350304"/>
                      <a:pt x="528732" y="336512"/>
                    </a:cubicBezTo>
                    <a:cubicBezTo>
                      <a:pt x="509425" y="311688"/>
                      <a:pt x="492875" y="284105"/>
                      <a:pt x="484599" y="253763"/>
                    </a:cubicBezTo>
                    <a:cubicBezTo>
                      <a:pt x="473566" y="226180"/>
                      <a:pt x="462533" y="187564"/>
                      <a:pt x="451500" y="154465"/>
                    </a:cubicBezTo>
                    <a:cubicBezTo>
                      <a:pt x="434950" y="110332"/>
                      <a:pt x="418400" y="66199"/>
                      <a:pt x="412884" y="55166"/>
                    </a:cubicBezTo>
                    <a:cubicBezTo>
                      <a:pt x="412884" y="52408"/>
                      <a:pt x="410125" y="49649"/>
                      <a:pt x="407367" y="46891"/>
                    </a:cubicBezTo>
                    <a:cubicBezTo>
                      <a:pt x="401850" y="35858"/>
                      <a:pt x="390817" y="19308"/>
                      <a:pt x="377025" y="0"/>
                    </a:cubicBezTo>
                    <a:lnTo>
                      <a:pt x="363234" y="5517"/>
                    </a:lnTo>
                    <a:cubicBezTo>
                      <a:pt x="363234" y="5517"/>
                      <a:pt x="363234" y="5517"/>
                      <a:pt x="363234" y="5517"/>
                    </a:cubicBezTo>
                    <a:lnTo>
                      <a:pt x="228077" y="66199"/>
                    </a:lnTo>
                    <a:lnTo>
                      <a:pt x="159120" y="96540"/>
                    </a:lnTo>
                    <a:lnTo>
                      <a:pt x="159120" y="96540"/>
                    </a:lnTo>
                    <a:lnTo>
                      <a:pt x="159120" y="96540"/>
                    </a:lnTo>
                    <a:cubicBezTo>
                      <a:pt x="167395" y="102057"/>
                      <a:pt x="172911" y="110332"/>
                      <a:pt x="181186" y="115848"/>
                    </a:cubicBezTo>
                    <a:cubicBezTo>
                      <a:pt x="186703" y="121365"/>
                      <a:pt x="194978" y="126882"/>
                      <a:pt x="200494" y="129640"/>
                    </a:cubicBezTo>
                    <a:cubicBezTo>
                      <a:pt x="211527" y="137915"/>
                      <a:pt x="222561" y="146190"/>
                      <a:pt x="230836" y="151706"/>
                    </a:cubicBezTo>
                    <a:cubicBezTo>
                      <a:pt x="258419" y="173773"/>
                      <a:pt x="297035" y="176531"/>
                      <a:pt x="338409" y="168256"/>
                    </a:cubicBezTo>
                    <a:cubicBezTo>
                      <a:pt x="346684" y="165498"/>
                      <a:pt x="352201" y="171014"/>
                      <a:pt x="352201" y="179289"/>
                    </a:cubicBezTo>
                    <a:cubicBezTo>
                      <a:pt x="352201" y="187564"/>
                      <a:pt x="346684" y="195839"/>
                      <a:pt x="338409" y="198597"/>
                    </a:cubicBezTo>
                    <a:cubicBezTo>
                      <a:pt x="288760" y="209631"/>
                      <a:pt x="244627" y="204114"/>
                      <a:pt x="208769" y="179289"/>
                    </a:cubicBezTo>
                    <a:cubicBezTo>
                      <a:pt x="208769" y="179289"/>
                      <a:pt x="208769" y="179289"/>
                      <a:pt x="206011" y="179289"/>
                    </a:cubicBezTo>
                    <a:cubicBezTo>
                      <a:pt x="183944" y="162740"/>
                      <a:pt x="161878" y="146190"/>
                      <a:pt x="139812" y="129640"/>
                    </a:cubicBezTo>
                    <a:cubicBezTo>
                      <a:pt x="134295" y="126882"/>
                      <a:pt x="114987" y="107574"/>
                      <a:pt x="114987" y="107574"/>
                    </a:cubicBezTo>
                    <a:cubicBezTo>
                      <a:pt x="109470" y="102057"/>
                      <a:pt x="101195" y="96540"/>
                      <a:pt x="95679" y="91024"/>
                    </a:cubicBezTo>
                    <a:cubicBezTo>
                      <a:pt x="90162" y="85507"/>
                      <a:pt x="81887" y="77232"/>
                      <a:pt x="76371" y="71716"/>
                    </a:cubicBezTo>
                    <a:cubicBezTo>
                      <a:pt x="59821" y="55166"/>
                      <a:pt x="29479" y="55166"/>
                      <a:pt x="12929" y="74474"/>
                    </a:cubicBezTo>
                    <a:cubicBezTo>
                      <a:pt x="-862" y="91024"/>
                      <a:pt x="-3620" y="113090"/>
                      <a:pt x="4654" y="132398"/>
                    </a:cubicBezTo>
                    <a:cubicBezTo>
                      <a:pt x="7413" y="140673"/>
                      <a:pt x="29479" y="162740"/>
                      <a:pt x="34996" y="165498"/>
                    </a:cubicBezTo>
                    <a:cubicBezTo>
                      <a:pt x="51546" y="184806"/>
                      <a:pt x="70854" y="201356"/>
                      <a:pt x="87404" y="215147"/>
                    </a:cubicBezTo>
                    <a:cubicBezTo>
                      <a:pt x="109470" y="234455"/>
                      <a:pt x="161878" y="273071"/>
                      <a:pt x="161878" y="273071"/>
                    </a:cubicBezTo>
                    <a:cubicBezTo>
                      <a:pt x="164636" y="275830"/>
                      <a:pt x="167395" y="278588"/>
                      <a:pt x="167395" y="281346"/>
                    </a:cubicBezTo>
                    <a:cubicBezTo>
                      <a:pt x="167395" y="344787"/>
                      <a:pt x="181186" y="377887"/>
                      <a:pt x="219802" y="408228"/>
                    </a:cubicBezTo>
                    <a:cubicBezTo>
                      <a:pt x="236352" y="419261"/>
                      <a:pt x="252902" y="430294"/>
                      <a:pt x="272210" y="438569"/>
                    </a:cubicBezTo>
                    <a:cubicBezTo>
                      <a:pt x="291518" y="446844"/>
                      <a:pt x="310826" y="446844"/>
                      <a:pt x="330134" y="452361"/>
                    </a:cubicBezTo>
                    <a:cubicBezTo>
                      <a:pt x="341168" y="455119"/>
                      <a:pt x="352201" y="457877"/>
                      <a:pt x="363234" y="466152"/>
                    </a:cubicBezTo>
                    <a:cubicBezTo>
                      <a:pt x="374267" y="474427"/>
                      <a:pt x="412884" y="521318"/>
                      <a:pt x="423917" y="532352"/>
                    </a:cubicBezTo>
                    <a:cubicBezTo>
                      <a:pt x="423917" y="532352"/>
                      <a:pt x="498391" y="446844"/>
                      <a:pt x="501149" y="441328"/>
                    </a:cubicBezTo>
                    <a:cubicBezTo>
                      <a:pt x="523216" y="419261"/>
                      <a:pt x="545282" y="399953"/>
                      <a:pt x="564591" y="383403"/>
                    </a:cubicBezTo>
                    <a:cubicBezTo>
                      <a:pt x="564591" y="383403"/>
                      <a:pt x="564591" y="383403"/>
                      <a:pt x="559074" y="37512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フリーフォーム: 図形 54">
                <a:extLst>
                  <a:ext uri="{FF2B5EF4-FFF2-40B4-BE49-F238E27FC236}">
                    <a16:creationId xmlns:a16="http://schemas.microsoft.com/office/drawing/2014/main" id="{B1020C32-7CB7-441A-830B-BCFE22CB51C4}"/>
                  </a:ext>
                </a:extLst>
              </p:cNvPr>
              <p:cNvSpPr/>
              <p:nvPr/>
            </p:nvSpPr>
            <p:spPr>
              <a:xfrm>
                <a:off x="7232421" y="3120070"/>
                <a:ext cx="366854" cy="198597"/>
              </a:xfrm>
              <a:custGeom>
                <a:avLst/>
                <a:gdLst>
                  <a:gd name="connsiteX0" fmla="*/ 11033 w 366854"/>
                  <a:gd name="connsiteY0" fmla="*/ 143431 h 198597"/>
                  <a:gd name="connsiteX1" fmla="*/ 0 w 366854"/>
                  <a:gd name="connsiteY1" fmla="*/ 148948 h 198597"/>
                  <a:gd name="connsiteX2" fmla="*/ 46891 w 366854"/>
                  <a:gd name="connsiteY2" fmla="*/ 176531 h 198597"/>
                  <a:gd name="connsiteX3" fmla="*/ 46891 w 366854"/>
                  <a:gd name="connsiteY3" fmla="*/ 176531 h 198597"/>
                  <a:gd name="connsiteX4" fmla="*/ 74474 w 366854"/>
                  <a:gd name="connsiteY4" fmla="*/ 198597 h 198597"/>
                  <a:gd name="connsiteX5" fmla="*/ 366854 w 366854"/>
                  <a:gd name="connsiteY5" fmla="*/ 68957 h 198597"/>
                  <a:gd name="connsiteX6" fmla="*/ 336513 w 366854"/>
                  <a:gd name="connsiteY6" fmla="*/ 0 h 198597"/>
                  <a:gd name="connsiteX7" fmla="*/ 11033 w 366854"/>
                  <a:gd name="connsiteY7" fmla="*/ 143431 h 198597"/>
                  <a:gd name="connsiteX8" fmla="*/ 11033 w 366854"/>
                  <a:gd name="connsiteY8" fmla="*/ 143431 h 198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6854" h="198597">
                    <a:moveTo>
                      <a:pt x="11033" y="143431"/>
                    </a:moveTo>
                    <a:lnTo>
                      <a:pt x="0" y="148948"/>
                    </a:lnTo>
                    <a:cubicBezTo>
                      <a:pt x="0" y="148948"/>
                      <a:pt x="27583" y="157223"/>
                      <a:pt x="46891" y="176531"/>
                    </a:cubicBezTo>
                    <a:lnTo>
                      <a:pt x="46891" y="176531"/>
                    </a:lnTo>
                    <a:cubicBezTo>
                      <a:pt x="55166" y="184806"/>
                      <a:pt x="66200" y="193081"/>
                      <a:pt x="74474" y="198597"/>
                    </a:cubicBezTo>
                    <a:lnTo>
                      <a:pt x="366854" y="68957"/>
                    </a:lnTo>
                    <a:lnTo>
                      <a:pt x="336513" y="0"/>
                    </a:lnTo>
                    <a:lnTo>
                      <a:pt x="11033" y="143431"/>
                    </a:lnTo>
                    <a:cubicBezTo>
                      <a:pt x="11033" y="143431"/>
                      <a:pt x="11033" y="143431"/>
                      <a:pt x="11033" y="143431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フリーフォーム: 図形 55">
                <a:extLst>
                  <a:ext uri="{FF2B5EF4-FFF2-40B4-BE49-F238E27FC236}">
                    <a16:creationId xmlns:a16="http://schemas.microsoft.com/office/drawing/2014/main" id="{EFFEC2A0-485E-4E49-9508-85299C40B2A4}"/>
                  </a:ext>
                </a:extLst>
              </p:cNvPr>
              <p:cNvSpPr/>
              <p:nvPr/>
            </p:nvSpPr>
            <p:spPr>
              <a:xfrm>
                <a:off x="6862808" y="3365559"/>
                <a:ext cx="193081" cy="140673"/>
              </a:xfrm>
              <a:custGeom>
                <a:avLst/>
                <a:gdLst>
                  <a:gd name="connsiteX0" fmla="*/ 137915 w 193081"/>
                  <a:gd name="connsiteY0" fmla="*/ 11033 h 140673"/>
                  <a:gd name="connsiteX1" fmla="*/ 63441 w 193081"/>
                  <a:gd name="connsiteY1" fmla="*/ 0 h 140673"/>
                  <a:gd name="connsiteX2" fmla="*/ 60683 w 193081"/>
                  <a:gd name="connsiteY2" fmla="*/ 0 h 140673"/>
                  <a:gd name="connsiteX3" fmla="*/ 57924 w 193081"/>
                  <a:gd name="connsiteY3" fmla="*/ 2758 h 140673"/>
                  <a:gd name="connsiteX4" fmla="*/ 13792 w 193081"/>
                  <a:gd name="connsiteY4" fmla="*/ 79991 h 140673"/>
                  <a:gd name="connsiteX5" fmla="*/ 0 w 193081"/>
                  <a:gd name="connsiteY5" fmla="*/ 104815 h 140673"/>
                  <a:gd name="connsiteX6" fmla="*/ 63441 w 193081"/>
                  <a:gd name="connsiteY6" fmla="*/ 74474 h 140673"/>
                  <a:gd name="connsiteX7" fmla="*/ 68958 w 193081"/>
                  <a:gd name="connsiteY7" fmla="*/ 66199 h 140673"/>
                  <a:gd name="connsiteX8" fmla="*/ 77233 w 193081"/>
                  <a:gd name="connsiteY8" fmla="*/ 55166 h 140673"/>
                  <a:gd name="connsiteX9" fmla="*/ 91024 w 193081"/>
                  <a:gd name="connsiteY9" fmla="*/ 49649 h 140673"/>
                  <a:gd name="connsiteX10" fmla="*/ 113090 w 193081"/>
                  <a:gd name="connsiteY10" fmla="*/ 71716 h 140673"/>
                  <a:gd name="connsiteX11" fmla="*/ 85507 w 193081"/>
                  <a:gd name="connsiteY11" fmla="*/ 91024 h 140673"/>
                  <a:gd name="connsiteX12" fmla="*/ 79991 w 193081"/>
                  <a:gd name="connsiteY12" fmla="*/ 88265 h 140673"/>
                  <a:gd name="connsiteX13" fmla="*/ 71716 w 193081"/>
                  <a:gd name="connsiteY13" fmla="*/ 91024 h 140673"/>
                  <a:gd name="connsiteX14" fmla="*/ 8275 w 193081"/>
                  <a:gd name="connsiteY14" fmla="*/ 121365 h 140673"/>
                  <a:gd name="connsiteX15" fmla="*/ 88266 w 193081"/>
                  <a:gd name="connsiteY15" fmla="*/ 135157 h 140673"/>
                  <a:gd name="connsiteX16" fmla="*/ 124124 w 193081"/>
                  <a:gd name="connsiteY16" fmla="*/ 140673 h 140673"/>
                  <a:gd name="connsiteX17" fmla="*/ 129640 w 193081"/>
                  <a:gd name="connsiteY17" fmla="*/ 140673 h 140673"/>
                  <a:gd name="connsiteX18" fmla="*/ 143432 w 193081"/>
                  <a:gd name="connsiteY18" fmla="*/ 118607 h 140673"/>
                  <a:gd name="connsiteX19" fmla="*/ 168256 w 193081"/>
                  <a:gd name="connsiteY19" fmla="*/ 77232 h 140673"/>
                  <a:gd name="connsiteX20" fmla="*/ 179290 w 193081"/>
                  <a:gd name="connsiteY20" fmla="*/ 66199 h 140673"/>
                  <a:gd name="connsiteX21" fmla="*/ 193081 w 193081"/>
                  <a:gd name="connsiteY21" fmla="*/ 60683 h 140673"/>
                  <a:gd name="connsiteX22" fmla="*/ 168256 w 193081"/>
                  <a:gd name="connsiteY22" fmla="*/ 8275 h 140673"/>
                  <a:gd name="connsiteX23" fmla="*/ 137915 w 193081"/>
                  <a:gd name="connsiteY23" fmla="*/ 11033 h 140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93081" h="140673">
                    <a:moveTo>
                      <a:pt x="137915" y="11033"/>
                    </a:moveTo>
                    <a:cubicBezTo>
                      <a:pt x="124124" y="8275"/>
                      <a:pt x="63441" y="0"/>
                      <a:pt x="63441" y="0"/>
                    </a:cubicBezTo>
                    <a:cubicBezTo>
                      <a:pt x="63441" y="0"/>
                      <a:pt x="60683" y="0"/>
                      <a:pt x="60683" y="0"/>
                    </a:cubicBezTo>
                    <a:cubicBezTo>
                      <a:pt x="60683" y="0"/>
                      <a:pt x="57924" y="2758"/>
                      <a:pt x="57924" y="2758"/>
                    </a:cubicBezTo>
                    <a:cubicBezTo>
                      <a:pt x="57924" y="2758"/>
                      <a:pt x="13792" y="79991"/>
                      <a:pt x="13792" y="79991"/>
                    </a:cubicBezTo>
                    <a:lnTo>
                      <a:pt x="0" y="104815"/>
                    </a:lnTo>
                    <a:cubicBezTo>
                      <a:pt x="5517" y="102057"/>
                      <a:pt x="60683" y="77232"/>
                      <a:pt x="63441" y="74474"/>
                    </a:cubicBezTo>
                    <a:cubicBezTo>
                      <a:pt x="68958" y="71716"/>
                      <a:pt x="68958" y="68957"/>
                      <a:pt x="68958" y="66199"/>
                    </a:cubicBezTo>
                    <a:cubicBezTo>
                      <a:pt x="68958" y="63441"/>
                      <a:pt x="71716" y="57924"/>
                      <a:pt x="77233" y="55166"/>
                    </a:cubicBezTo>
                    <a:cubicBezTo>
                      <a:pt x="82749" y="52408"/>
                      <a:pt x="88266" y="49649"/>
                      <a:pt x="91024" y="49649"/>
                    </a:cubicBezTo>
                    <a:cubicBezTo>
                      <a:pt x="102057" y="49649"/>
                      <a:pt x="113090" y="57924"/>
                      <a:pt x="113090" y="71716"/>
                    </a:cubicBezTo>
                    <a:cubicBezTo>
                      <a:pt x="113090" y="85507"/>
                      <a:pt x="99299" y="96540"/>
                      <a:pt x="85507" y="91024"/>
                    </a:cubicBezTo>
                    <a:cubicBezTo>
                      <a:pt x="82749" y="91024"/>
                      <a:pt x="79991" y="88265"/>
                      <a:pt x="79991" y="88265"/>
                    </a:cubicBezTo>
                    <a:cubicBezTo>
                      <a:pt x="77233" y="88265"/>
                      <a:pt x="74474" y="88265"/>
                      <a:pt x="71716" y="91024"/>
                    </a:cubicBezTo>
                    <a:cubicBezTo>
                      <a:pt x="60683" y="96540"/>
                      <a:pt x="11033" y="118607"/>
                      <a:pt x="8275" y="121365"/>
                    </a:cubicBezTo>
                    <a:lnTo>
                      <a:pt x="88266" y="135157"/>
                    </a:lnTo>
                    <a:lnTo>
                      <a:pt x="124124" y="140673"/>
                    </a:lnTo>
                    <a:cubicBezTo>
                      <a:pt x="124124" y="140673"/>
                      <a:pt x="126882" y="140673"/>
                      <a:pt x="129640" y="140673"/>
                    </a:cubicBezTo>
                    <a:lnTo>
                      <a:pt x="143432" y="118607"/>
                    </a:lnTo>
                    <a:lnTo>
                      <a:pt x="168256" y="77232"/>
                    </a:lnTo>
                    <a:cubicBezTo>
                      <a:pt x="168256" y="77232"/>
                      <a:pt x="171015" y="71716"/>
                      <a:pt x="179290" y="66199"/>
                    </a:cubicBezTo>
                    <a:cubicBezTo>
                      <a:pt x="184806" y="63441"/>
                      <a:pt x="193081" y="60683"/>
                      <a:pt x="193081" y="60683"/>
                    </a:cubicBezTo>
                    <a:lnTo>
                      <a:pt x="168256" y="8275"/>
                    </a:lnTo>
                    <a:cubicBezTo>
                      <a:pt x="165498" y="5517"/>
                      <a:pt x="151707" y="13791"/>
                      <a:pt x="137915" y="11033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904242E4-F3E6-4816-A69C-DE1ECB4A4119}"/>
              </a:ext>
            </a:extLst>
          </p:cNvPr>
          <p:cNvGrpSpPr/>
          <p:nvPr/>
        </p:nvGrpSpPr>
        <p:grpSpPr>
          <a:xfrm>
            <a:off x="8629961" y="511046"/>
            <a:ext cx="3752249" cy="628297"/>
            <a:chOff x="600862" y="4369802"/>
            <a:chExt cx="10981721" cy="1838840"/>
          </a:xfrm>
        </p:grpSpPr>
        <p:sp>
          <p:nvSpPr>
            <p:cNvPr id="68" name="フリーフォーム: 図形 67">
              <a:extLst>
                <a:ext uri="{FF2B5EF4-FFF2-40B4-BE49-F238E27FC236}">
                  <a16:creationId xmlns:a16="http://schemas.microsoft.com/office/drawing/2014/main" id="{688103F5-60C3-4F42-919D-1CE4B0DCAE2D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フリーフォーム: 図形 68">
              <a:extLst>
                <a:ext uri="{FF2B5EF4-FFF2-40B4-BE49-F238E27FC236}">
                  <a16:creationId xmlns:a16="http://schemas.microsoft.com/office/drawing/2014/main" id="{718FBB5D-C8EF-4DC3-8AA9-14ACE5BC4B6A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フリーフォーム: 図形 69">
              <a:extLst>
                <a:ext uri="{FF2B5EF4-FFF2-40B4-BE49-F238E27FC236}">
                  <a16:creationId xmlns:a16="http://schemas.microsoft.com/office/drawing/2014/main" id="{18E23272-9C65-4684-AEEA-4112CE6FE0AD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フリーフォーム: 図形 70">
              <a:extLst>
                <a:ext uri="{FF2B5EF4-FFF2-40B4-BE49-F238E27FC236}">
                  <a16:creationId xmlns:a16="http://schemas.microsoft.com/office/drawing/2014/main" id="{C6070DB4-FCCA-4C05-95B3-5547FCC9FA94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フリーフォーム: 図形 71">
              <a:extLst>
                <a:ext uri="{FF2B5EF4-FFF2-40B4-BE49-F238E27FC236}">
                  <a16:creationId xmlns:a16="http://schemas.microsoft.com/office/drawing/2014/main" id="{55352DD9-E186-4C55-AF4A-6D2EB0D61E78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フリーフォーム: 図形 72">
              <a:extLst>
                <a:ext uri="{FF2B5EF4-FFF2-40B4-BE49-F238E27FC236}">
                  <a16:creationId xmlns:a16="http://schemas.microsoft.com/office/drawing/2014/main" id="{8D6617BA-BFD9-41E4-9C45-7C2574C1F880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フリーフォーム: 図形 73">
              <a:extLst>
                <a:ext uri="{FF2B5EF4-FFF2-40B4-BE49-F238E27FC236}">
                  <a16:creationId xmlns:a16="http://schemas.microsoft.com/office/drawing/2014/main" id="{762BE950-F8D4-4750-9FCF-4354B73B17AF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フリーフォーム: 図形 74">
              <a:extLst>
                <a:ext uri="{FF2B5EF4-FFF2-40B4-BE49-F238E27FC236}">
                  <a16:creationId xmlns:a16="http://schemas.microsoft.com/office/drawing/2014/main" id="{972546CE-9592-4F09-9143-1CA2A4D1474C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フリーフォーム: 図形 75">
              <a:extLst>
                <a:ext uri="{FF2B5EF4-FFF2-40B4-BE49-F238E27FC236}">
                  <a16:creationId xmlns:a16="http://schemas.microsoft.com/office/drawing/2014/main" id="{478B1C91-1F2F-45C2-BA1F-3725F9CE53E5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フリーフォーム: 図形 76">
              <a:extLst>
                <a:ext uri="{FF2B5EF4-FFF2-40B4-BE49-F238E27FC236}">
                  <a16:creationId xmlns:a16="http://schemas.microsoft.com/office/drawing/2014/main" id="{07D3A3FE-C145-4526-AB1B-518877E3ED2D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フリーフォーム: 図形 77">
              <a:extLst>
                <a:ext uri="{FF2B5EF4-FFF2-40B4-BE49-F238E27FC236}">
                  <a16:creationId xmlns:a16="http://schemas.microsoft.com/office/drawing/2014/main" id="{D908464A-40AA-4E65-A833-4D6D91F7C3FE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フリーフォーム: 図形 78">
              <a:extLst>
                <a:ext uri="{FF2B5EF4-FFF2-40B4-BE49-F238E27FC236}">
                  <a16:creationId xmlns:a16="http://schemas.microsoft.com/office/drawing/2014/main" id="{AB620732-ACB7-44D3-B2E1-8CC40B1B56B4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フリーフォーム: 図形 79">
              <a:extLst>
                <a:ext uri="{FF2B5EF4-FFF2-40B4-BE49-F238E27FC236}">
                  <a16:creationId xmlns:a16="http://schemas.microsoft.com/office/drawing/2014/main" id="{1123DB45-8410-4C92-8CD0-E44E77CA4A56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フリーフォーム: 図形 80">
              <a:extLst>
                <a:ext uri="{FF2B5EF4-FFF2-40B4-BE49-F238E27FC236}">
                  <a16:creationId xmlns:a16="http://schemas.microsoft.com/office/drawing/2014/main" id="{2C4AF5F5-8ED6-4044-8BBC-C45F84DF3D6F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フリーフォーム: 図形 81">
              <a:extLst>
                <a:ext uri="{FF2B5EF4-FFF2-40B4-BE49-F238E27FC236}">
                  <a16:creationId xmlns:a16="http://schemas.microsoft.com/office/drawing/2014/main" id="{F7E07A6F-B194-4BF9-863E-BD0C26008FF6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フリーフォーム: 図形 82">
              <a:extLst>
                <a:ext uri="{FF2B5EF4-FFF2-40B4-BE49-F238E27FC236}">
                  <a16:creationId xmlns:a16="http://schemas.microsoft.com/office/drawing/2014/main" id="{0A8A9343-C04D-4DA1-AB89-8E1B2547455D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フリーフォーム: 図形 83">
              <a:extLst>
                <a:ext uri="{FF2B5EF4-FFF2-40B4-BE49-F238E27FC236}">
                  <a16:creationId xmlns:a16="http://schemas.microsoft.com/office/drawing/2014/main" id="{8C0E8AAB-1F41-4D39-9367-3BCB319BCA86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フリーフォーム: 図形 84">
              <a:extLst>
                <a:ext uri="{FF2B5EF4-FFF2-40B4-BE49-F238E27FC236}">
                  <a16:creationId xmlns:a16="http://schemas.microsoft.com/office/drawing/2014/main" id="{CBA509F9-4AAD-472D-B88E-C858FF120EA0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フリーフォーム: 図形 85">
              <a:extLst>
                <a:ext uri="{FF2B5EF4-FFF2-40B4-BE49-F238E27FC236}">
                  <a16:creationId xmlns:a16="http://schemas.microsoft.com/office/drawing/2014/main" id="{29E598A8-3854-4E7C-82CD-D0FCEC264052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フリーフォーム: 図形 86">
              <a:extLst>
                <a:ext uri="{FF2B5EF4-FFF2-40B4-BE49-F238E27FC236}">
                  <a16:creationId xmlns:a16="http://schemas.microsoft.com/office/drawing/2014/main" id="{3863F2A7-4B7A-47F3-A889-4E7CB9922CB2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フリーフォーム: 図形 87">
              <a:extLst>
                <a:ext uri="{FF2B5EF4-FFF2-40B4-BE49-F238E27FC236}">
                  <a16:creationId xmlns:a16="http://schemas.microsoft.com/office/drawing/2014/main" id="{DBAC145A-DEB8-43B7-800D-553D1AF4703B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フリーフォーム: 図形 88">
              <a:extLst>
                <a:ext uri="{FF2B5EF4-FFF2-40B4-BE49-F238E27FC236}">
                  <a16:creationId xmlns:a16="http://schemas.microsoft.com/office/drawing/2014/main" id="{42E5617D-1227-4A3C-84E5-45988FDEC9B3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フリーフォーム: 図形 89">
              <a:extLst>
                <a:ext uri="{FF2B5EF4-FFF2-40B4-BE49-F238E27FC236}">
                  <a16:creationId xmlns:a16="http://schemas.microsoft.com/office/drawing/2014/main" id="{1BD45FD4-3CDA-4C38-A449-968DE5E49EBF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フリーフォーム: 図形 90">
              <a:extLst>
                <a:ext uri="{FF2B5EF4-FFF2-40B4-BE49-F238E27FC236}">
                  <a16:creationId xmlns:a16="http://schemas.microsoft.com/office/drawing/2014/main" id="{A8BD50DF-0B33-493A-9AF2-DBEF364A4E4C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2" name="テキスト ボックス 91">
            <a:extLst>
              <a:ext uri="{FF2B5EF4-FFF2-40B4-BE49-F238E27FC236}">
                <a16:creationId xmlns:a16="http://schemas.microsoft.com/office/drawing/2014/main" id="{460152FE-9EBB-4DD4-B380-485066AC0CFF}"/>
              </a:ext>
            </a:extLst>
          </p:cNvPr>
          <p:cNvSpPr txBox="1"/>
          <p:nvPr/>
        </p:nvSpPr>
        <p:spPr>
          <a:xfrm>
            <a:off x="8026797" y="532808"/>
            <a:ext cx="502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+</a:t>
            </a:r>
            <a:endParaRPr lang="ja-JP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38">
            <a:extLst>
              <a:ext uri="{FF2B5EF4-FFF2-40B4-BE49-F238E27FC236}">
                <a16:creationId xmlns:a16="http://schemas.microsoft.com/office/drawing/2014/main" id="{8650DEE8-1DA2-4752-AD72-5DB994F57C3B}"/>
              </a:ext>
            </a:extLst>
          </p:cNvPr>
          <p:cNvSpPr txBox="1"/>
          <p:nvPr/>
        </p:nvSpPr>
        <p:spPr>
          <a:xfrm>
            <a:off x="366822" y="461763"/>
            <a:ext cx="5073231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ja-JP" sz="36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With a combination of</a:t>
            </a:r>
            <a:endParaRPr kumimoji="0" lang="ja-JP" altLang="en-US" sz="3600" b="1" dirty="0">
              <a:solidFill>
                <a:srgbClr val="445469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047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>
            <a:extLst>
              <a:ext uri="{FF2B5EF4-FFF2-40B4-BE49-F238E27FC236}">
                <a16:creationId xmlns:a16="http://schemas.microsoft.com/office/drawing/2014/main" id="{7F11A035-DD8A-42B0-B695-458B3F4F9CE7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997D4997-F174-4192-9886-A05E23ED17C6}"/>
              </a:ext>
            </a:extLst>
          </p:cNvPr>
          <p:cNvSpPr/>
          <p:nvPr/>
        </p:nvSpPr>
        <p:spPr>
          <a:xfrm>
            <a:off x="593160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62C45149-67C2-45C1-8C50-7123A767C6D3}"/>
              </a:ext>
            </a:extLst>
          </p:cNvPr>
          <p:cNvGrpSpPr/>
          <p:nvPr/>
        </p:nvGrpSpPr>
        <p:grpSpPr>
          <a:xfrm>
            <a:off x="393187" y="1202416"/>
            <a:ext cx="11821332" cy="830997"/>
            <a:chOff x="724006" y="3092325"/>
            <a:chExt cx="23642664" cy="1661994"/>
          </a:xfrm>
        </p:grpSpPr>
        <p:sp>
          <p:nvSpPr>
            <p:cNvPr id="18" name="Oval 1">
              <a:extLst>
                <a:ext uri="{FF2B5EF4-FFF2-40B4-BE49-F238E27FC236}">
                  <a16:creationId xmlns:a16="http://schemas.microsoft.com/office/drawing/2014/main" id="{D044EF9E-1519-49F5-9434-64A0AAAAD1CA}"/>
                </a:ext>
              </a:extLst>
            </p:cNvPr>
            <p:cNvSpPr/>
            <p:nvPr/>
          </p:nvSpPr>
          <p:spPr>
            <a:xfrm>
              <a:off x="724006" y="3269307"/>
              <a:ext cx="1288074" cy="132293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Rectangle 4">
              <a:extLst>
                <a:ext uri="{FF2B5EF4-FFF2-40B4-BE49-F238E27FC236}">
                  <a16:creationId xmlns:a16="http://schemas.microsoft.com/office/drawing/2014/main" id="{9B9DE86F-CADA-4CEF-A454-15BA883F775B}"/>
                </a:ext>
              </a:extLst>
            </p:cNvPr>
            <p:cNvSpPr/>
            <p:nvPr/>
          </p:nvSpPr>
          <p:spPr>
            <a:xfrm>
              <a:off x="2202284" y="3092325"/>
              <a:ext cx="22164386" cy="16619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217">
                <a:defRPr/>
              </a:pPr>
              <a:r>
                <a:rPr kumimoji="0"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A high-performance iOS / iPad OS handwriting draw app for creating non-standard documents on site.</a:t>
              </a:r>
              <a:endParaRPr kumimoji="0" lang="en-US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B07848DC-D6E0-477C-80B1-81D399B1995D}"/>
              </a:ext>
            </a:extLst>
          </p:cNvPr>
          <p:cNvGrpSpPr/>
          <p:nvPr/>
        </p:nvGrpSpPr>
        <p:grpSpPr>
          <a:xfrm>
            <a:off x="393187" y="2292310"/>
            <a:ext cx="11862217" cy="907376"/>
            <a:chOff x="673532" y="3175285"/>
            <a:chExt cx="23724433" cy="1814752"/>
          </a:xfrm>
        </p:grpSpPr>
        <p:sp>
          <p:nvSpPr>
            <p:cNvPr id="21" name="Oval 1">
              <a:extLst>
                <a:ext uri="{FF2B5EF4-FFF2-40B4-BE49-F238E27FC236}">
                  <a16:creationId xmlns:a16="http://schemas.microsoft.com/office/drawing/2014/main" id="{48FD925F-D4E8-43CD-9537-B4479B32BF5F}"/>
                </a:ext>
              </a:extLst>
            </p:cNvPr>
            <p:cNvSpPr/>
            <p:nvPr/>
          </p:nvSpPr>
          <p:spPr>
            <a:xfrm>
              <a:off x="673532" y="3175285"/>
              <a:ext cx="1288074" cy="132293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92AB916E-7807-413E-BC22-C21CB8E81D17}"/>
                </a:ext>
              </a:extLst>
            </p:cNvPr>
            <p:cNvSpPr/>
            <p:nvPr/>
          </p:nvSpPr>
          <p:spPr>
            <a:xfrm>
              <a:off x="2233580" y="3328043"/>
              <a:ext cx="22164385" cy="16619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217">
                <a:defRPr/>
              </a:pPr>
              <a:r>
                <a:rPr kumimoji="0"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You can turn blank pages, PDF drawings, PDF documents, images, and </a:t>
              </a:r>
              <a:r>
                <a:rPr kumimoji="0" lang="en-US" altLang="ja-JP" sz="2400" dirty="0" err="1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i</a:t>
              </a:r>
              <a:r>
                <a:rPr kumimoji="0"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-Reporter forms into pages.</a:t>
              </a:r>
              <a:endParaRPr kumimoji="0" lang="en-US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EE5AA894-0E8E-4F00-B2FA-4F1DC5FF1F3E}"/>
              </a:ext>
            </a:extLst>
          </p:cNvPr>
          <p:cNvGrpSpPr/>
          <p:nvPr/>
        </p:nvGrpSpPr>
        <p:grpSpPr>
          <a:xfrm>
            <a:off x="396650" y="3171631"/>
            <a:ext cx="11960437" cy="1569660"/>
            <a:chOff x="745214" y="2246209"/>
            <a:chExt cx="23643385" cy="3139317"/>
          </a:xfrm>
        </p:grpSpPr>
        <p:sp>
          <p:nvSpPr>
            <p:cNvPr id="26" name="Oval 1">
              <a:extLst>
                <a:ext uri="{FF2B5EF4-FFF2-40B4-BE49-F238E27FC236}">
                  <a16:creationId xmlns:a16="http://schemas.microsoft.com/office/drawing/2014/main" id="{DE631E89-3FF7-49B1-A7C3-797118A4F13F}"/>
                </a:ext>
              </a:extLst>
            </p:cNvPr>
            <p:cNvSpPr/>
            <p:nvPr/>
          </p:nvSpPr>
          <p:spPr>
            <a:xfrm>
              <a:off x="745214" y="2246833"/>
              <a:ext cx="1288073" cy="132293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7" name="Rectangle 4">
              <a:extLst>
                <a:ext uri="{FF2B5EF4-FFF2-40B4-BE49-F238E27FC236}">
                  <a16:creationId xmlns:a16="http://schemas.microsoft.com/office/drawing/2014/main" id="{39084C3A-98E0-49DC-9DE7-88FF23943E2E}"/>
                </a:ext>
              </a:extLst>
            </p:cNvPr>
            <p:cNvSpPr/>
            <p:nvPr/>
          </p:nvSpPr>
          <p:spPr>
            <a:xfrm>
              <a:off x="2224214" y="2246209"/>
              <a:ext cx="22164385" cy="31393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Two types of pens for handwriting, graphic objects, and text input for free memos.</a:t>
              </a:r>
              <a:br>
                <a:rPr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</a:br>
              <a:r>
                <a:rPr lang="en-US" altLang="ja-JP" sz="2400" dirty="0">
                  <a:solidFill>
                    <a:srgbClr val="363E48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It is possible to cut out a part from a PDF drawing, paste an image taken with a camera, and paste an image saved in a photo library. PDF drawings and PDF documents remain as vectors without any deterioration in image quality.</a:t>
              </a:r>
              <a:endPara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</p:grpSp>
      <p:sp>
        <p:nvSpPr>
          <p:cNvPr id="30" name="Oval 1">
            <a:extLst>
              <a:ext uri="{FF2B5EF4-FFF2-40B4-BE49-F238E27FC236}">
                <a16:creationId xmlns:a16="http://schemas.microsoft.com/office/drawing/2014/main" id="{4AD1792D-008F-4B23-8CB0-FEDE43E67718}"/>
              </a:ext>
            </a:extLst>
          </p:cNvPr>
          <p:cNvSpPr/>
          <p:nvPr/>
        </p:nvSpPr>
        <p:spPr>
          <a:xfrm>
            <a:off x="398732" y="4928933"/>
            <a:ext cx="644037" cy="5788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F0BB1935-9284-4D61-BA85-8C0145A48EAD}"/>
              </a:ext>
            </a:extLst>
          </p:cNvPr>
          <p:cNvGrpSpPr/>
          <p:nvPr/>
        </p:nvGrpSpPr>
        <p:grpSpPr>
          <a:xfrm>
            <a:off x="4219875" y="498754"/>
            <a:ext cx="3752249" cy="628297"/>
            <a:chOff x="600862" y="4369802"/>
            <a:chExt cx="10981721" cy="1838840"/>
          </a:xfrm>
        </p:grpSpPr>
        <p:sp>
          <p:nvSpPr>
            <p:cNvPr id="28" name="フリーフォーム: 図形 27">
              <a:extLst>
                <a:ext uri="{FF2B5EF4-FFF2-40B4-BE49-F238E27FC236}">
                  <a16:creationId xmlns:a16="http://schemas.microsoft.com/office/drawing/2014/main" id="{35FEDEC1-7BB5-44FA-8A6E-4EBAA685FA1F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フリーフォーム: 図形 31">
              <a:extLst>
                <a:ext uri="{FF2B5EF4-FFF2-40B4-BE49-F238E27FC236}">
                  <a16:creationId xmlns:a16="http://schemas.microsoft.com/office/drawing/2014/main" id="{FEF6B754-E6CA-4A1D-941C-2ED1B8B1F10D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フリーフォーム: 図形 32">
              <a:extLst>
                <a:ext uri="{FF2B5EF4-FFF2-40B4-BE49-F238E27FC236}">
                  <a16:creationId xmlns:a16="http://schemas.microsoft.com/office/drawing/2014/main" id="{511C926F-6A47-4B22-B201-AEC710213011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フリーフォーム: 図形 33">
              <a:extLst>
                <a:ext uri="{FF2B5EF4-FFF2-40B4-BE49-F238E27FC236}">
                  <a16:creationId xmlns:a16="http://schemas.microsoft.com/office/drawing/2014/main" id="{1516F35D-42D2-40EF-875F-9FCB6B6F4DA1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フリーフォーム: 図形 34">
              <a:extLst>
                <a:ext uri="{FF2B5EF4-FFF2-40B4-BE49-F238E27FC236}">
                  <a16:creationId xmlns:a16="http://schemas.microsoft.com/office/drawing/2014/main" id="{A3459E05-9247-44A8-AA95-9D91C0C7BCE0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フリーフォーム: 図形 35">
              <a:extLst>
                <a:ext uri="{FF2B5EF4-FFF2-40B4-BE49-F238E27FC236}">
                  <a16:creationId xmlns:a16="http://schemas.microsoft.com/office/drawing/2014/main" id="{AE91DA57-BC32-488F-AA59-A80A2C0F497E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フリーフォーム: 図形 36">
              <a:extLst>
                <a:ext uri="{FF2B5EF4-FFF2-40B4-BE49-F238E27FC236}">
                  <a16:creationId xmlns:a16="http://schemas.microsoft.com/office/drawing/2014/main" id="{979278A7-4406-40C6-B619-FBE62E6EFCDD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フリーフォーム: 図形 37">
              <a:extLst>
                <a:ext uri="{FF2B5EF4-FFF2-40B4-BE49-F238E27FC236}">
                  <a16:creationId xmlns:a16="http://schemas.microsoft.com/office/drawing/2014/main" id="{93A6E962-C94F-4497-B7F2-BDD34821FF6F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フリーフォーム: 図形 38">
              <a:extLst>
                <a:ext uri="{FF2B5EF4-FFF2-40B4-BE49-F238E27FC236}">
                  <a16:creationId xmlns:a16="http://schemas.microsoft.com/office/drawing/2014/main" id="{C4DE3037-D083-4060-ABB8-3B95A27F5DCF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フリーフォーム: 図形 39">
              <a:extLst>
                <a:ext uri="{FF2B5EF4-FFF2-40B4-BE49-F238E27FC236}">
                  <a16:creationId xmlns:a16="http://schemas.microsoft.com/office/drawing/2014/main" id="{854EC660-48CD-45C8-BAF6-2FB747A1BDE1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フリーフォーム: 図形 40">
              <a:extLst>
                <a:ext uri="{FF2B5EF4-FFF2-40B4-BE49-F238E27FC236}">
                  <a16:creationId xmlns:a16="http://schemas.microsoft.com/office/drawing/2014/main" id="{C58161B9-F6C7-4C1D-8452-EA2D648EC0BD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フリーフォーム: 図形 41">
              <a:extLst>
                <a:ext uri="{FF2B5EF4-FFF2-40B4-BE49-F238E27FC236}">
                  <a16:creationId xmlns:a16="http://schemas.microsoft.com/office/drawing/2014/main" id="{A20B283E-0D78-4CA1-AD9D-04CE60649395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フリーフォーム: 図形 42">
              <a:extLst>
                <a:ext uri="{FF2B5EF4-FFF2-40B4-BE49-F238E27FC236}">
                  <a16:creationId xmlns:a16="http://schemas.microsoft.com/office/drawing/2014/main" id="{DDD30908-A4E0-45C4-8DEB-FEFC8F50CCE5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フリーフォーム: 図形 43">
              <a:extLst>
                <a:ext uri="{FF2B5EF4-FFF2-40B4-BE49-F238E27FC236}">
                  <a16:creationId xmlns:a16="http://schemas.microsoft.com/office/drawing/2014/main" id="{4E80C098-157A-4EF0-A687-D36BCDFBAFAD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フリーフォーム: 図形 44">
              <a:extLst>
                <a:ext uri="{FF2B5EF4-FFF2-40B4-BE49-F238E27FC236}">
                  <a16:creationId xmlns:a16="http://schemas.microsoft.com/office/drawing/2014/main" id="{8D859125-16D1-4DBE-AD9A-1D19740B2C20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フリーフォーム: 図形 45">
              <a:extLst>
                <a:ext uri="{FF2B5EF4-FFF2-40B4-BE49-F238E27FC236}">
                  <a16:creationId xmlns:a16="http://schemas.microsoft.com/office/drawing/2014/main" id="{5A0CE87E-DF74-41A9-AAC9-3C049E5EBCC8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フリーフォーム: 図形 46">
              <a:extLst>
                <a:ext uri="{FF2B5EF4-FFF2-40B4-BE49-F238E27FC236}">
                  <a16:creationId xmlns:a16="http://schemas.microsoft.com/office/drawing/2014/main" id="{59ED60C7-115B-45A2-8A6E-92D9D10B59E1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フリーフォーム: 図形 47">
              <a:extLst>
                <a:ext uri="{FF2B5EF4-FFF2-40B4-BE49-F238E27FC236}">
                  <a16:creationId xmlns:a16="http://schemas.microsoft.com/office/drawing/2014/main" id="{50FC038A-69E5-415B-8BEB-6D590008A8F4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18961FA0-4AA8-4B5D-B055-3B891E0BD262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フリーフォーム: 図形 49">
              <a:extLst>
                <a:ext uri="{FF2B5EF4-FFF2-40B4-BE49-F238E27FC236}">
                  <a16:creationId xmlns:a16="http://schemas.microsoft.com/office/drawing/2014/main" id="{884AC698-1BB0-42CB-B697-8FA65BCBD750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フリーフォーム: 図形 50">
              <a:extLst>
                <a:ext uri="{FF2B5EF4-FFF2-40B4-BE49-F238E27FC236}">
                  <a16:creationId xmlns:a16="http://schemas.microsoft.com/office/drawing/2014/main" id="{DE3D1A2B-1222-48C3-A5D3-670F3AAD87CD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フリーフォーム: 図形 51">
              <a:extLst>
                <a:ext uri="{FF2B5EF4-FFF2-40B4-BE49-F238E27FC236}">
                  <a16:creationId xmlns:a16="http://schemas.microsoft.com/office/drawing/2014/main" id="{5EFEAA82-D048-489B-BA35-DD5E8B391308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フリーフォーム: 図形 52">
              <a:extLst>
                <a:ext uri="{FF2B5EF4-FFF2-40B4-BE49-F238E27FC236}">
                  <a16:creationId xmlns:a16="http://schemas.microsoft.com/office/drawing/2014/main" id="{28E7E930-EE56-4267-986C-92C5F1450E81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フリーフォーム: 図形 53">
              <a:extLst>
                <a:ext uri="{FF2B5EF4-FFF2-40B4-BE49-F238E27FC236}">
                  <a16:creationId xmlns:a16="http://schemas.microsoft.com/office/drawing/2014/main" id="{29288939-26BE-4797-8479-B4F9049FF18A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400056E5-2A5B-4A07-B1C0-4DDA42608941}"/>
              </a:ext>
            </a:extLst>
          </p:cNvPr>
          <p:cNvSpPr txBox="1"/>
          <p:nvPr/>
        </p:nvSpPr>
        <p:spPr>
          <a:xfrm>
            <a:off x="872711" y="519053"/>
            <a:ext cx="34640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ain features of </a:t>
            </a:r>
            <a:endParaRPr lang="ja-JP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1">
            <a:extLst>
              <a:ext uri="{FF2B5EF4-FFF2-40B4-BE49-F238E27FC236}">
                <a16:creationId xmlns:a16="http://schemas.microsoft.com/office/drawing/2014/main" id="{DCBA9F49-D3E2-4F03-8463-D459EE0CF02C}"/>
              </a:ext>
            </a:extLst>
          </p:cNvPr>
          <p:cNvSpPr/>
          <p:nvPr/>
        </p:nvSpPr>
        <p:spPr>
          <a:xfrm>
            <a:off x="400428" y="5857165"/>
            <a:ext cx="644037" cy="5788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740F9257-73D0-4D13-9482-029903F5B09A}"/>
              </a:ext>
            </a:extLst>
          </p:cNvPr>
          <p:cNvSpPr/>
          <p:nvPr/>
        </p:nvSpPr>
        <p:spPr>
          <a:xfrm>
            <a:off x="1160172" y="5861830"/>
            <a:ext cx="112122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You can also share to cloud storage such as Box and send to Microsoft Teams, Slack, LINE, email, etc.</a:t>
            </a:r>
            <a:endParaRPr kumimoji="0" lang="en-US" sz="2400" dirty="0">
              <a:solidFill>
                <a:srgbClr val="363E48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402FC748-A0F6-40CC-99B5-82445B95C26E}"/>
              </a:ext>
            </a:extLst>
          </p:cNvPr>
          <p:cNvSpPr/>
          <p:nvPr/>
        </p:nvSpPr>
        <p:spPr>
          <a:xfrm>
            <a:off x="1160172" y="4879042"/>
            <a:ext cx="112122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nter-app cooperation with </a:t>
            </a:r>
            <a:r>
              <a:rPr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is possible. You can insert the material created by </a:t>
            </a:r>
            <a:r>
              <a:rPr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 </a:t>
            </a:r>
            <a:r>
              <a:rPr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FreeDraw</a:t>
            </a: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as the page of </a:t>
            </a:r>
            <a:r>
              <a:rPr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form.</a:t>
            </a:r>
            <a:endParaRPr kumimoji="0" lang="en-US" sz="2400" dirty="0">
              <a:solidFill>
                <a:srgbClr val="363E48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420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8A54D07F-4ADA-9653-C1F3-ADC5C24F3A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067" y="3709358"/>
            <a:ext cx="4114800" cy="3086100"/>
          </a:xfrm>
          <a:prstGeom prst="rect">
            <a:avLst/>
          </a:prstGeom>
        </p:spPr>
      </p:pic>
      <p:sp>
        <p:nvSpPr>
          <p:cNvPr id="6" name="TextBox 10">
            <a:extLst>
              <a:ext uri="{FF2B5EF4-FFF2-40B4-BE49-F238E27FC236}">
                <a16:creationId xmlns:a16="http://schemas.microsoft.com/office/drawing/2014/main" id="{7F11A035-DD8A-42B0-B695-458B3F4F9CE7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997D4997-F174-4192-9886-A05E23ED17C6}"/>
              </a:ext>
            </a:extLst>
          </p:cNvPr>
          <p:cNvSpPr/>
          <p:nvPr/>
        </p:nvSpPr>
        <p:spPr>
          <a:xfrm>
            <a:off x="593160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9B9DE86F-CADA-4CEF-A454-15BA883F775B}"/>
              </a:ext>
            </a:extLst>
          </p:cNvPr>
          <p:cNvSpPr/>
          <p:nvPr/>
        </p:nvSpPr>
        <p:spPr>
          <a:xfrm>
            <a:off x="1124196" y="1509727"/>
            <a:ext cx="1108219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17">
              <a:defRPr/>
            </a:pP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The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nMas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server manages both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forms and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FreeDraw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documents.</a:t>
            </a:r>
            <a:endParaRPr kumimoji="0" lang="en-US" sz="2400" dirty="0">
              <a:solidFill>
                <a:srgbClr val="363E48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92AB916E-7807-413E-BC22-C21CB8E81D17}"/>
              </a:ext>
            </a:extLst>
          </p:cNvPr>
          <p:cNvSpPr/>
          <p:nvPr/>
        </p:nvSpPr>
        <p:spPr>
          <a:xfrm>
            <a:off x="1076040" y="2611240"/>
            <a:ext cx="110821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17">
              <a:defRPr/>
            </a:pP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ave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-RepoFreeDraw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documents in the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nMas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server's library management.</a:t>
            </a:r>
          </a:p>
          <a:p>
            <a:pPr defTabSz="914217">
              <a:defRPr/>
            </a:pP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You can refer to it as a PDF document as a related document from the </a:t>
            </a:r>
            <a:r>
              <a:rPr kumimoji="0" lang="en-US" altLang="ja-JP" sz="2400" dirty="0" err="1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2400" dirty="0">
                <a:solidFill>
                  <a:srgbClr val="363E48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app.</a:t>
            </a:r>
            <a:endParaRPr kumimoji="0" lang="en-US" sz="2400" dirty="0">
              <a:solidFill>
                <a:srgbClr val="363E48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8194D228-67AF-45BB-9247-57BCDB5833A8}"/>
              </a:ext>
            </a:extLst>
          </p:cNvPr>
          <p:cNvGrpSpPr>
            <a:grpSpLocks noChangeAspect="1"/>
          </p:cNvGrpSpPr>
          <p:nvPr/>
        </p:nvGrpSpPr>
        <p:grpSpPr>
          <a:xfrm>
            <a:off x="2216070" y="497074"/>
            <a:ext cx="2632723" cy="629977"/>
            <a:chOff x="6716618" y="1385538"/>
            <a:chExt cx="4956671" cy="1186068"/>
          </a:xfrm>
        </p:grpSpPr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BBC53726-B68A-4583-A064-75C061860D12}"/>
                </a:ext>
              </a:extLst>
            </p:cNvPr>
            <p:cNvGrpSpPr/>
            <p:nvPr/>
          </p:nvGrpSpPr>
          <p:grpSpPr>
            <a:xfrm>
              <a:off x="8264026" y="1691709"/>
              <a:ext cx="3409263" cy="684056"/>
              <a:chOff x="8264026" y="3142137"/>
              <a:chExt cx="3409263" cy="684056"/>
            </a:xfrm>
          </p:grpSpPr>
          <p:sp>
            <p:nvSpPr>
              <p:cNvPr id="41" name="フリーフォーム: 図形 40">
                <a:extLst>
                  <a:ext uri="{FF2B5EF4-FFF2-40B4-BE49-F238E27FC236}">
                    <a16:creationId xmlns:a16="http://schemas.microsoft.com/office/drawing/2014/main" id="{B6A4A916-4600-4B1D-82A7-6CBFF867302B}"/>
                  </a:ext>
                </a:extLst>
              </p:cNvPr>
              <p:cNvSpPr/>
              <p:nvPr/>
            </p:nvSpPr>
            <p:spPr>
              <a:xfrm>
                <a:off x="8264026" y="3142137"/>
                <a:ext cx="126882" cy="554417"/>
              </a:xfrm>
              <a:custGeom>
                <a:avLst/>
                <a:gdLst>
                  <a:gd name="connsiteX0" fmla="*/ 126882 w 126882"/>
                  <a:gd name="connsiteY0" fmla="*/ 60683 h 554417"/>
                  <a:gd name="connsiteX1" fmla="*/ 63441 w 126882"/>
                  <a:gd name="connsiteY1" fmla="*/ 121365 h 554417"/>
                  <a:gd name="connsiteX2" fmla="*/ 0 w 126882"/>
                  <a:gd name="connsiteY2" fmla="*/ 60683 h 554417"/>
                  <a:gd name="connsiteX3" fmla="*/ 63441 w 126882"/>
                  <a:gd name="connsiteY3" fmla="*/ 0 h 554417"/>
                  <a:gd name="connsiteX4" fmla="*/ 126882 w 126882"/>
                  <a:gd name="connsiteY4" fmla="*/ 60683 h 554417"/>
                  <a:gd name="connsiteX5" fmla="*/ 113091 w 126882"/>
                  <a:gd name="connsiteY5" fmla="*/ 554418 h 554417"/>
                  <a:gd name="connsiteX6" fmla="*/ 13792 w 126882"/>
                  <a:gd name="connsiteY6" fmla="*/ 554418 h 554417"/>
                  <a:gd name="connsiteX7" fmla="*/ 13792 w 126882"/>
                  <a:gd name="connsiteY7" fmla="*/ 193081 h 554417"/>
                  <a:gd name="connsiteX8" fmla="*/ 113091 w 126882"/>
                  <a:gd name="connsiteY8" fmla="*/ 193081 h 554417"/>
                  <a:gd name="connsiteX9" fmla="*/ 113091 w 126882"/>
                  <a:gd name="connsiteY9" fmla="*/ 554418 h 554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882" h="554417">
                    <a:moveTo>
                      <a:pt x="126882" y="60683"/>
                    </a:moveTo>
                    <a:cubicBezTo>
                      <a:pt x="126882" y="93782"/>
                      <a:pt x="99299" y="121365"/>
                      <a:pt x="63441" y="121365"/>
                    </a:cubicBezTo>
                    <a:cubicBezTo>
                      <a:pt x="27583" y="121365"/>
                      <a:pt x="0" y="93782"/>
                      <a:pt x="0" y="60683"/>
                    </a:cubicBezTo>
                    <a:cubicBezTo>
                      <a:pt x="0" y="24825"/>
                      <a:pt x="27583" y="0"/>
                      <a:pt x="63441" y="0"/>
                    </a:cubicBezTo>
                    <a:cubicBezTo>
                      <a:pt x="99299" y="0"/>
                      <a:pt x="126882" y="24825"/>
                      <a:pt x="126882" y="60683"/>
                    </a:cubicBezTo>
                    <a:moveTo>
                      <a:pt x="113091" y="554418"/>
                    </a:moveTo>
                    <a:lnTo>
                      <a:pt x="13792" y="554418"/>
                    </a:lnTo>
                    <a:lnTo>
                      <a:pt x="13792" y="193081"/>
                    </a:lnTo>
                    <a:lnTo>
                      <a:pt x="113091" y="193081"/>
                    </a:lnTo>
                    <a:lnTo>
                      <a:pt x="113091" y="554418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フリーフォーム: 図形 41">
                <a:extLst>
                  <a:ext uri="{FF2B5EF4-FFF2-40B4-BE49-F238E27FC236}">
                    <a16:creationId xmlns:a16="http://schemas.microsoft.com/office/drawing/2014/main" id="{0D294250-FAE0-4F31-B2F0-37023B22A126}"/>
                  </a:ext>
                </a:extLst>
              </p:cNvPr>
              <p:cNvSpPr/>
              <p:nvPr/>
            </p:nvSpPr>
            <p:spPr>
              <a:xfrm>
                <a:off x="8454349" y="3420725"/>
                <a:ext cx="184806" cy="82748"/>
              </a:xfrm>
              <a:custGeom>
                <a:avLst/>
                <a:gdLst>
                  <a:gd name="connsiteX0" fmla="*/ 0 w 184806"/>
                  <a:gd name="connsiteY0" fmla="*/ 0 h 82748"/>
                  <a:gd name="connsiteX1" fmla="*/ 184807 w 184806"/>
                  <a:gd name="connsiteY1" fmla="*/ 0 h 82748"/>
                  <a:gd name="connsiteX2" fmla="*/ 184807 w 184806"/>
                  <a:gd name="connsiteY2" fmla="*/ 82749 h 82748"/>
                  <a:gd name="connsiteX3" fmla="*/ 0 w 184806"/>
                  <a:gd name="connsiteY3" fmla="*/ 82749 h 8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806" h="82748">
                    <a:moveTo>
                      <a:pt x="0" y="0"/>
                    </a:moveTo>
                    <a:lnTo>
                      <a:pt x="184807" y="0"/>
                    </a:lnTo>
                    <a:lnTo>
                      <a:pt x="184807" y="82749"/>
                    </a:lnTo>
                    <a:lnTo>
                      <a:pt x="0" y="82749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フリーフォーム: 図形 42">
                <a:extLst>
                  <a:ext uri="{FF2B5EF4-FFF2-40B4-BE49-F238E27FC236}">
                    <a16:creationId xmlns:a16="http://schemas.microsoft.com/office/drawing/2014/main" id="{E6BB08A2-5835-4D83-8D3B-C9F5B8BDB652}"/>
                  </a:ext>
                </a:extLst>
              </p:cNvPr>
              <p:cNvSpPr/>
              <p:nvPr/>
            </p:nvSpPr>
            <p:spPr>
              <a:xfrm>
                <a:off x="8727421" y="3213852"/>
                <a:ext cx="405470" cy="482702"/>
              </a:xfrm>
              <a:custGeom>
                <a:avLst/>
                <a:gdLst>
                  <a:gd name="connsiteX0" fmla="*/ 295139 w 405470"/>
                  <a:gd name="connsiteY0" fmla="*/ 482702 h 482702"/>
                  <a:gd name="connsiteX1" fmla="*/ 171015 w 405470"/>
                  <a:gd name="connsiteY1" fmla="*/ 311688 h 482702"/>
                  <a:gd name="connsiteX2" fmla="*/ 99299 w 405470"/>
                  <a:gd name="connsiteY2" fmla="*/ 311688 h 482702"/>
                  <a:gd name="connsiteX3" fmla="*/ 99299 w 405470"/>
                  <a:gd name="connsiteY3" fmla="*/ 482702 h 482702"/>
                  <a:gd name="connsiteX4" fmla="*/ 0 w 405470"/>
                  <a:gd name="connsiteY4" fmla="*/ 482702 h 482702"/>
                  <a:gd name="connsiteX5" fmla="*/ 0 w 405470"/>
                  <a:gd name="connsiteY5" fmla="*/ 0 h 482702"/>
                  <a:gd name="connsiteX6" fmla="*/ 182048 w 405470"/>
                  <a:gd name="connsiteY6" fmla="*/ 0 h 482702"/>
                  <a:gd name="connsiteX7" fmla="*/ 355821 w 405470"/>
                  <a:gd name="connsiteY7" fmla="*/ 154465 h 482702"/>
                  <a:gd name="connsiteX8" fmla="*/ 270314 w 405470"/>
                  <a:gd name="connsiteY8" fmla="*/ 289621 h 482702"/>
                  <a:gd name="connsiteX9" fmla="*/ 405471 w 405470"/>
                  <a:gd name="connsiteY9" fmla="*/ 479944 h 482702"/>
                  <a:gd name="connsiteX10" fmla="*/ 295139 w 405470"/>
                  <a:gd name="connsiteY10" fmla="*/ 479944 h 482702"/>
                  <a:gd name="connsiteX11" fmla="*/ 99299 w 405470"/>
                  <a:gd name="connsiteY11" fmla="*/ 226180 h 482702"/>
                  <a:gd name="connsiteX12" fmla="*/ 182048 w 405470"/>
                  <a:gd name="connsiteY12" fmla="*/ 226180 h 482702"/>
                  <a:gd name="connsiteX13" fmla="*/ 253764 w 405470"/>
                  <a:gd name="connsiteY13" fmla="*/ 157223 h 482702"/>
                  <a:gd name="connsiteX14" fmla="*/ 182048 w 405470"/>
                  <a:gd name="connsiteY14" fmla="*/ 88266 h 482702"/>
                  <a:gd name="connsiteX15" fmla="*/ 99299 w 405470"/>
                  <a:gd name="connsiteY15" fmla="*/ 88266 h 482702"/>
                  <a:gd name="connsiteX16" fmla="*/ 99299 w 405470"/>
                  <a:gd name="connsiteY16" fmla="*/ 226180 h 48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5470" h="482702">
                    <a:moveTo>
                      <a:pt x="295139" y="482702"/>
                    </a:moveTo>
                    <a:lnTo>
                      <a:pt x="171015" y="311688"/>
                    </a:lnTo>
                    <a:lnTo>
                      <a:pt x="99299" y="311688"/>
                    </a:lnTo>
                    <a:lnTo>
                      <a:pt x="99299" y="482702"/>
                    </a:lnTo>
                    <a:lnTo>
                      <a:pt x="0" y="482702"/>
                    </a:lnTo>
                    <a:lnTo>
                      <a:pt x="0" y="0"/>
                    </a:lnTo>
                    <a:lnTo>
                      <a:pt x="182048" y="0"/>
                    </a:lnTo>
                    <a:cubicBezTo>
                      <a:pt x="284106" y="0"/>
                      <a:pt x="355821" y="60683"/>
                      <a:pt x="355821" y="154465"/>
                    </a:cubicBezTo>
                    <a:cubicBezTo>
                      <a:pt x="355821" y="215147"/>
                      <a:pt x="322722" y="264797"/>
                      <a:pt x="270314" y="289621"/>
                    </a:cubicBezTo>
                    <a:lnTo>
                      <a:pt x="405471" y="479944"/>
                    </a:lnTo>
                    <a:lnTo>
                      <a:pt x="295139" y="479944"/>
                    </a:lnTo>
                    <a:close/>
                    <a:moveTo>
                      <a:pt x="99299" y="226180"/>
                    </a:moveTo>
                    <a:lnTo>
                      <a:pt x="182048" y="226180"/>
                    </a:lnTo>
                    <a:cubicBezTo>
                      <a:pt x="228940" y="226180"/>
                      <a:pt x="253764" y="198597"/>
                      <a:pt x="253764" y="157223"/>
                    </a:cubicBezTo>
                    <a:cubicBezTo>
                      <a:pt x="253764" y="115849"/>
                      <a:pt x="226181" y="88266"/>
                      <a:pt x="182048" y="88266"/>
                    </a:cubicBezTo>
                    <a:lnTo>
                      <a:pt x="99299" y="88266"/>
                    </a:lnTo>
                    <a:lnTo>
                      <a:pt x="99299" y="226180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フリーフォーム: 図形 43">
                <a:extLst>
                  <a:ext uri="{FF2B5EF4-FFF2-40B4-BE49-F238E27FC236}">
                    <a16:creationId xmlns:a16="http://schemas.microsoft.com/office/drawing/2014/main" id="{B595FC36-6A5A-489D-B99C-21204ECB74F7}"/>
                  </a:ext>
                </a:extLst>
              </p:cNvPr>
              <p:cNvSpPr/>
              <p:nvPr/>
            </p:nvSpPr>
            <p:spPr>
              <a:xfrm>
                <a:off x="9146684" y="3324184"/>
                <a:ext cx="361337" cy="380645"/>
              </a:xfrm>
              <a:custGeom>
                <a:avLst/>
                <a:gdLst>
                  <a:gd name="connsiteX0" fmla="*/ 353063 w 361337"/>
                  <a:gd name="connsiteY0" fmla="*/ 223422 h 380645"/>
                  <a:gd name="connsiteX1" fmla="*/ 99299 w 361337"/>
                  <a:gd name="connsiteY1" fmla="*/ 223422 h 380645"/>
                  <a:gd name="connsiteX2" fmla="*/ 201356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8 w 361337"/>
                  <a:gd name="connsiteY8" fmla="*/ 168256 h 380645"/>
                  <a:gd name="connsiteX9" fmla="*/ 353063 w 361337"/>
                  <a:gd name="connsiteY9" fmla="*/ 223422 h 380645"/>
                  <a:gd name="connsiteX10" fmla="*/ 99299 w 361337"/>
                  <a:gd name="connsiteY10" fmla="*/ 154465 h 380645"/>
                  <a:gd name="connsiteX11" fmla="*/ 264797 w 361337"/>
                  <a:gd name="connsiteY11" fmla="*/ 154465 h 380645"/>
                  <a:gd name="connsiteX12" fmla="*/ 187564 w 361337"/>
                  <a:gd name="connsiteY12" fmla="*/ 82749 h 380645"/>
                  <a:gd name="connsiteX13" fmla="*/ 99299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3063" y="223422"/>
                    </a:moveTo>
                    <a:lnTo>
                      <a:pt x="99299" y="223422"/>
                    </a:lnTo>
                    <a:cubicBezTo>
                      <a:pt x="110332" y="270313"/>
                      <a:pt x="148948" y="295138"/>
                      <a:pt x="201356" y="295138"/>
                    </a:cubicBezTo>
                    <a:cubicBezTo>
                      <a:pt x="239972" y="295138"/>
                      <a:pt x="273072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8" y="74474"/>
                      <a:pt x="361338" y="168256"/>
                    </a:cubicBezTo>
                    <a:cubicBezTo>
                      <a:pt x="361338" y="190323"/>
                      <a:pt x="358579" y="212389"/>
                      <a:pt x="353063" y="223422"/>
                    </a:cubicBezTo>
                    <a:moveTo>
                      <a:pt x="99299" y="154465"/>
                    </a:moveTo>
                    <a:lnTo>
                      <a:pt x="264797" y="154465"/>
                    </a:lnTo>
                    <a:cubicBezTo>
                      <a:pt x="264797" y="107574"/>
                      <a:pt x="228939" y="82749"/>
                      <a:pt x="187564" y="82749"/>
                    </a:cubicBezTo>
                    <a:cubicBezTo>
                      <a:pt x="146190" y="82749"/>
                      <a:pt x="113091" y="110332"/>
                      <a:pt x="99299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フリーフォーム: 図形 44">
                <a:extLst>
                  <a:ext uri="{FF2B5EF4-FFF2-40B4-BE49-F238E27FC236}">
                    <a16:creationId xmlns:a16="http://schemas.microsoft.com/office/drawing/2014/main" id="{7F0B3D82-44B4-4B02-833E-49B8E6AED198}"/>
                  </a:ext>
                </a:extLst>
              </p:cNvPr>
              <p:cNvSpPr/>
              <p:nvPr/>
            </p:nvSpPr>
            <p:spPr>
              <a:xfrm>
                <a:off x="9576979" y="3326942"/>
                <a:ext cx="383404" cy="499251"/>
              </a:xfrm>
              <a:custGeom>
                <a:avLst/>
                <a:gdLst>
                  <a:gd name="connsiteX0" fmla="*/ 383404 w 383404"/>
                  <a:gd name="connsiteY0" fmla="*/ 187564 h 499251"/>
                  <a:gd name="connsiteX1" fmla="*/ 206873 w 383404"/>
                  <a:gd name="connsiteY1" fmla="*/ 377887 h 499251"/>
                  <a:gd name="connsiteX2" fmla="*/ 99298 w 383404"/>
                  <a:gd name="connsiteY2" fmla="*/ 333754 h 499251"/>
                  <a:gd name="connsiteX3" fmla="*/ 99298 w 383404"/>
                  <a:gd name="connsiteY3" fmla="*/ 499252 h 499251"/>
                  <a:gd name="connsiteX4" fmla="*/ 0 w 383404"/>
                  <a:gd name="connsiteY4" fmla="*/ 499252 h 499251"/>
                  <a:gd name="connsiteX5" fmla="*/ 0 w 383404"/>
                  <a:gd name="connsiteY5" fmla="*/ 8275 h 499251"/>
                  <a:gd name="connsiteX6" fmla="*/ 91024 w 383404"/>
                  <a:gd name="connsiteY6" fmla="*/ 8275 h 499251"/>
                  <a:gd name="connsiteX7" fmla="*/ 91024 w 383404"/>
                  <a:gd name="connsiteY7" fmla="*/ 52408 h 499251"/>
                  <a:gd name="connsiteX8" fmla="*/ 206873 w 383404"/>
                  <a:gd name="connsiteY8" fmla="*/ 0 h 499251"/>
                  <a:gd name="connsiteX9" fmla="*/ 383404 w 383404"/>
                  <a:gd name="connsiteY9" fmla="*/ 187564 h 499251"/>
                  <a:gd name="connsiteX10" fmla="*/ 281346 w 383404"/>
                  <a:gd name="connsiteY10" fmla="*/ 187564 h 499251"/>
                  <a:gd name="connsiteX11" fmla="*/ 187564 w 383404"/>
                  <a:gd name="connsiteY11" fmla="*/ 88266 h 499251"/>
                  <a:gd name="connsiteX12" fmla="*/ 96541 w 383404"/>
                  <a:gd name="connsiteY12" fmla="*/ 187564 h 499251"/>
                  <a:gd name="connsiteX13" fmla="*/ 187564 w 383404"/>
                  <a:gd name="connsiteY13" fmla="*/ 286863 h 499251"/>
                  <a:gd name="connsiteX14" fmla="*/ 281346 w 383404"/>
                  <a:gd name="connsiteY14" fmla="*/ 187564 h 4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3404" h="499251">
                    <a:moveTo>
                      <a:pt x="383404" y="187564"/>
                    </a:moveTo>
                    <a:cubicBezTo>
                      <a:pt x="383404" y="295138"/>
                      <a:pt x="311688" y="377887"/>
                      <a:pt x="206873" y="377887"/>
                    </a:cubicBezTo>
                    <a:cubicBezTo>
                      <a:pt x="162740" y="377887"/>
                      <a:pt x="124124" y="361337"/>
                      <a:pt x="99298" y="333754"/>
                    </a:cubicBezTo>
                    <a:lnTo>
                      <a:pt x="99298" y="499252"/>
                    </a:lnTo>
                    <a:lnTo>
                      <a:pt x="0" y="499252"/>
                    </a:lnTo>
                    <a:lnTo>
                      <a:pt x="0" y="8275"/>
                    </a:lnTo>
                    <a:lnTo>
                      <a:pt x="91024" y="8275"/>
                    </a:lnTo>
                    <a:lnTo>
                      <a:pt x="91024" y="52408"/>
                    </a:lnTo>
                    <a:cubicBezTo>
                      <a:pt x="115848" y="19308"/>
                      <a:pt x="157223" y="0"/>
                      <a:pt x="206873" y="0"/>
                    </a:cubicBezTo>
                    <a:cubicBezTo>
                      <a:pt x="308930" y="0"/>
                      <a:pt x="383404" y="79991"/>
                      <a:pt x="383404" y="187564"/>
                    </a:cubicBezTo>
                    <a:moveTo>
                      <a:pt x="281346" y="187564"/>
                    </a:moveTo>
                    <a:cubicBezTo>
                      <a:pt x="281346" y="126882"/>
                      <a:pt x="239972" y="88266"/>
                      <a:pt x="187564" y="88266"/>
                    </a:cubicBezTo>
                    <a:cubicBezTo>
                      <a:pt x="143431" y="88266"/>
                      <a:pt x="96541" y="118607"/>
                      <a:pt x="96541" y="187564"/>
                    </a:cubicBezTo>
                    <a:cubicBezTo>
                      <a:pt x="96541" y="256522"/>
                      <a:pt x="140673" y="286863"/>
                      <a:pt x="187564" y="286863"/>
                    </a:cubicBezTo>
                    <a:cubicBezTo>
                      <a:pt x="239972" y="286863"/>
                      <a:pt x="281346" y="251005"/>
                      <a:pt x="281346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フリーフォーム: 図形 45">
                <a:extLst>
                  <a:ext uri="{FF2B5EF4-FFF2-40B4-BE49-F238E27FC236}">
                    <a16:creationId xmlns:a16="http://schemas.microsoft.com/office/drawing/2014/main" id="{682D53E2-36A8-431B-8087-E5795DE180DE}"/>
                  </a:ext>
                </a:extLst>
              </p:cNvPr>
              <p:cNvSpPr/>
              <p:nvPr/>
            </p:nvSpPr>
            <p:spPr>
              <a:xfrm>
                <a:off x="10007274" y="3326942"/>
                <a:ext cx="388920" cy="377886"/>
              </a:xfrm>
              <a:custGeom>
                <a:avLst/>
                <a:gdLst>
                  <a:gd name="connsiteX0" fmla="*/ 388921 w 388920"/>
                  <a:gd name="connsiteY0" fmla="*/ 187564 h 377886"/>
                  <a:gd name="connsiteX1" fmla="*/ 193081 w 388920"/>
                  <a:gd name="connsiteY1" fmla="*/ 377887 h 377886"/>
                  <a:gd name="connsiteX2" fmla="*/ 0 w 388920"/>
                  <a:gd name="connsiteY2" fmla="*/ 187564 h 377886"/>
                  <a:gd name="connsiteX3" fmla="*/ 193081 w 388920"/>
                  <a:gd name="connsiteY3" fmla="*/ 0 h 377886"/>
                  <a:gd name="connsiteX4" fmla="*/ 388921 w 388920"/>
                  <a:gd name="connsiteY4" fmla="*/ 187564 h 377886"/>
                  <a:gd name="connsiteX5" fmla="*/ 99299 w 388920"/>
                  <a:gd name="connsiteY5" fmla="*/ 187564 h 377886"/>
                  <a:gd name="connsiteX6" fmla="*/ 193081 w 388920"/>
                  <a:gd name="connsiteY6" fmla="*/ 284105 h 377886"/>
                  <a:gd name="connsiteX7" fmla="*/ 286864 w 388920"/>
                  <a:gd name="connsiteY7" fmla="*/ 187564 h 377886"/>
                  <a:gd name="connsiteX8" fmla="*/ 193081 w 388920"/>
                  <a:gd name="connsiteY8" fmla="*/ 88266 h 377886"/>
                  <a:gd name="connsiteX9" fmla="*/ 99299 w 388920"/>
                  <a:gd name="connsiteY9" fmla="*/ 187564 h 37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920" h="377886">
                    <a:moveTo>
                      <a:pt x="388921" y="187564"/>
                    </a:moveTo>
                    <a:cubicBezTo>
                      <a:pt x="388921" y="295138"/>
                      <a:pt x="300656" y="377887"/>
                      <a:pt x="193081" y="377887"/>
                    </a:cubicBezTo>
                    <a:cubicBezTo>
                      <a:pt x="85508" y="377887"/>
                      <a:pt x="0" y="295138"/>
                      <a:pt x="0" y="187564"/>
                    </a:cubicBezTo>
                    <a:cubicBezTo>
                      <a:pt x="0" y="79991"/>
                      <a:pt x="85508" y="0"/>
                      <a:pt x="193081" y="0"/>
                    </a:cubicBezTo>
                    <a:cubicBezTo>
                      <a:pt x="300656" y="0"/>
                      <a:pt x="388921" y="79991"/>
                      <a:pt x="388921" y="187564"/>
                    </a:cubicBezTo>
                    <a:moveTo>
                      <a:pt x="99299" y="187564"/>
                    </a:moveTo>
                    <a:cubicBezTo>
                      <a:pt x="99299" y="245489"/>
                      <a:pt x="137915" y="284105"/>
                      <a:pt x="193081" y="284105"/>
                    </a:cubicBezTo>
                    <a:cubicBezTo>
                      <a:pt x="245490" y="284105"/>
                      <a:pt x="286864" y="242730"/>
                      <a:pt x="286864" y="187564"/>
                    </a:cubicBezTo>
                    <a:cubicBezTo>
                      <a:pt x="286864" y="129640"/>
                      <a:pt x="245490" y="88266"/>
                      <a:pt x="193081" y="88266"/>
                    </a:cubicBezTo>
                    <a:cubicBezTo>
                      <a:pt x="137915" y="88266"/>
                      <a:pt x="99299" y="132398"/>
                      <a:pt x="99299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フリーフォーム: 図形 46">
                <a:extLst>
                  <a:ext uri="{FF2B5EF4-FFF2-40B4-BE49-F238E27FC236}">
                    <a16:creationId xmlns:a16="http://schemas.microsoft.com/office/drawing/2014/main" id="{2917B112-41C7-456D-8D4D-B0A44FB04A00}"/>
                  </a:ext>
                </a:extLst>
              </p:cNvPr>
              <p:cNvSpPr/>
              <p:nvPr/>
            </p:nvSpPr>
            <p:spPr>
              <a:xfrm>
                <a:off x="10445845" y="3331317"/>
                <a:ext cx="223421" cy="362479"/>
              </a:xfrm>
              <a:custGeom>
                <a:avLst/>
                <a:gdLst>
                  <a:gd name="connsiteX0" fmla="*/ 223422 w 223421"/>
                  <a:gd name="connsiteY0" fmla="*/ 3901 h 362479"/>
                  <a:gd name="connsiteX1" fmla="*/ 223422 w 223421"/>
                  <a:gd name="connsiteY1" fmla="*/ 89408 h 362479"/>
                  <a:gd name="connsiteX2" fmla="*/ 195839 w 223421"/>
                  <a:gd name="connsiteY2" fmla="*/ 89408 h 362479"/>
                  <a:gd name="connsiteX3" fmla="*/ 99298 w 223421"/>
                  <a:gd name="connsiteY3" fmla="*/ 183190 h 362479"/>
                  <a:gd name="connsiteX4" fmla="*/ 99298 w 223421"/>
                  <a:gd name="connsiteY4" fmla="*/ 362480 h 362479"/>
                  <a:gd name="connsiteX5" fmla="*/ 0 w 223421"/>
                  <a:gd name="connsiteY5" fmla="*/ 362480 h 362479"/>
                  <a:gd name="connsiteX6" fmla="*/ 0 w 223421"/>
                  <a:gd name="connsiteY6" fmla="*/ 3901 h 362479"/>
                  <a:gd name="connsiteX7" fmla="*/ 91024 w 223421"/>
                  <a:gd name="connsiteY7" fmla="*/ 3901 h 362479"/>
                  <a:gd name="connsiteX8" fmla="*/ 91024 w 223421"/>
                  <a:gd name="connsiteY8" fmla="*/ 48034 h 362479"/>
                  <a:gd name="connsiteX9" fmla="*/ 190323 w 223421"/>
                  <a:gd name="connsiteY9" fmla="*/ 1143 h 362479"/>
                  <a:gd name="connsiteX10" fmla="*/ 223422 w 223421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1" h="362479">
                    <a:moveTo>
                      <a:pt x="223422" y="3901"/>
                    </a:moveTo>
                    <a:lnTo>
                      <a:pt x="223422" y="89408"/>
                    </a:lnTo>
                    <a:lnTo>
                      <a:pt x="195839" y="89408"/>
                    </a:lnTo>
                    <a:cubicBezTo>
                      <a:pt x="137915" y="89408"/>
                      <a:pt x="99298" y="119749"/>
                      <a:pt x="99298" y="183190"/>
                    </a:cubicBezTo>
                    <a:lnTo>
                      <a:pt x="99298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6873" y="-1616"/>
                      <a:pt x="215147" y="1143"/>
                      <a:pt x="223422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フリーフォーム: 図形 47">
                <a:extLst>
                  <a:ext uri="{FF2B5EF4-FFF2-40B4-BE49-F238E27FC236}">
                    <a16:creationId xmlns:a16="http://schemas.microsoft.com/office/drawing/2014/main" id="{FD9AD5B1-848C-42F8-8DDF-93A73B2E6BF9}"/>
                  </a:ext>
                </a:extLst>
              </p:cNvPr>
              <p:cNvSpPr/>
              <p:nvPr/>
            </p:nvSpPr>
            <p:spPr>
              <a:xfrm>
                <a:off x="10716158" y="3244194"/>
                <a:ext cx="267555" cy="460635"/>
              </a:xfrm>
              <a:custGeom>
                <a:avLst/>
                <a:gdLst>
                  <a:gd name="connsiteX0" fmla="*/ 267556 w 267555"/>
                  <a:gd name="connsiteY0" fmla="*/ 369612 h 460635"/>
                  <a:gd name="connsiteX1" fmla="*/ 267556 w 267555"/>
                  <a:gd name="connsiteY1" fmla="*/ 452361 h 460635"/>
                  <a:gd name="connsiteX2" fmla="*/ 198598 w 267555"/>
                  <a:gd name="connsiteY2" fmla="*/ 460636 h 460635"/>
                  <a:gd name="connsiteX3" fmla="*/ 55166 w 267555"/>
                  <a:gd name="connsiteY3" fmla="*/ 325479 h 460635"/>
                  <a:gd name="connsiteX4" fmla="*/ 55166 w 267555"/>
                  <a:gd name="connsiteY4" fmla="*/ 173773 h 460635"/>
                  <a:gd name="connsiteX5" fmla="*/ 0 w 267555"/>
                  <a:gd name="connsiteY5" fmla="*/ 173773 h 460635"/>
                  <a:gd name="connsiteX6" fmla="*/ 0 w 267555"/>
                  <a:gd name="connsiteY6" fmla="*/ 91024 h 460635"/>
                  <a:gd name="connsiteX7" fmla="*/ 57925 w 267555"/>
                  <a:gd name="connsiteY7" fmla="*/ 91024 h 460635"/>
                  <a:gd name="connsiteX8" fmla="*/ 57925 w 267555"/>
                  <a:gd name="connsiteY8" fmla="*/ 0 h 460635"/>
                  <a:gd name="connsiteX9" fmla="*/ 157224 w 267555"/>
                  <a:gd name="connsiteY9" fmla="*/ 0 h 460635"/>
                  <a:gd name="connsiteX10" fmla="*/ 157224 w 267555"/>
                  <a:gd name="connsiteY10" fmla="*/ 91024 h 460635"/>
                  <a:gd name="connsiteX11" fmla="*/ 259280 w 267555"/>
                  <a:gd name="connsiteY11" fmla="*/ 91024 h 460635"/>
                  <a:gd name="connsiteX12" fmla="*/ 259280 w 267555"/>
                  <a:gd name="connsiteY12" fmla="*/ 173773 h 460635"/>
                  <a:gd name="connsiteX13" fmla="*/ 157224 w 267555"/>
                  <a:gd name="connsiteY13" fmla="*/ 173773 h 460635"/>
                  <a:gd name="connsiteX14" fmla="*/ 157224 w 267555"/>
                  <a:gd name="connsiteY14" fmla="*/ 317204 h 460635"/>
                  <a:gd name="connsiteX15" fmla="*/ 223423 w 267555"/>
                  <a:gd name="connsiteY15" fmla="*/ 372370 h 460635"/>
                  <a:gd name="connsiteX16" fmla="*/ 267556 w 267555"/>
                  <a:gd name="connsiteY16" fmla="*/ 369612 h 460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555" h="460635">
                    <a:moveTo>
                      <a:pt x="267556" y="369612"/>
                    </a:moveTo>
                    <a:lnTo>
                      <a:pt x="267556" y="452361"/>
                    </a:lnTo>
                    <a:cubicBezTo>
                      <a:pt x="248247" y="457877"/>
                      <a:pt x="226181" y="460636"/>
                      <a:pt x="198598" y="460636"/>
                    </a:cubicBezTo>
                    <a:cubicBezTo>
                      <a:pt x="110332" y="460636"/>
                      <a:pt x="55166" y="416503"/>
                      <a:pt x="55166" y="325479"/>
                    </a:cubicBezTo>
                    <a:lnTo>
                      <a:pt x="55166" y="173773"/>
                    </a:lnTo>
                    <a:lnTo>
                      <a:pt x="0" y="173773"/>
                    </a:lnTo>
                    <a:lnTo>
                      <a:pt x="0" y="91024"/>
                    </a:lnTo>
                    <a:lnTo>
                      <a:pt x="57925" y="91024"/>
                    </a:lnTo>
                    <a:lnTo>
                      <a:pt x="57925" y="0"/>
                    </a:lnTo>
                    <a:lnTo>
                      <a:pt x="157224" y="0"/>
                    </a:lnTo>
                    <a:lnTo>
                      <a:pt x="157224" y="91024"/>
                    </a:lnTo>
                    <a:lnTo>
                      <a:pt x="259280" y="91024"/>
                    </a:lnTo>
                    <a:lnTo>
                      <a:pt x="259280" y="173773"/>
                    </a:lnTo>
                    <a:lnTo>
                      <a:pt x="157224" y="173773"/>
                    </a:lnTo>
                    <a:lnTo>
                      <a:pt x="157224" y="317204"/>
                    </a:lnTo>
                    <a:cubicBezTo>
                      <a:pt x="157224" y="358579"/>
                      <a:pt x="179290" y="372370"/>
                      <a:pt x="223423" y="372370"/>
                    </a:cubicBezTo>
                    <a:cubicBezTo>
                      <a:pt x="234456" y="372370"/>
                      <a:pt x="251006" y="369612"/>
                      <a:pt x="267556" y="369612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フリーフォーム: 図形 48">
                <a:extLst>
                  <a:ext uri="{FF2B5EF4-FFF2-40B4-BE49-F238E27FC236}">
                    <a16:creationId xmlns:a16="http://schemas.microsoft.com/office/drawing/2014/main" id="{46A3EBD0-2A36-4DC4-B70A-6CDCBA2D58DC}"/>
                  </a:ext>
                </a:extLst>
              </p:cNvPr>
              <p:cNvSpPr/>
              <p:nvPr/>
            </p:nvSpPr>
            <p:spPr>
              <a:xfrm>
                <a:off x="11025089" y="3324184"/>
                <a:ext cx="361337" cy="380645"/>
              </a:xfrm>
              <a:custGeom>
                <a:avLst/>
                <a:gdLst>
                  <a:gd name="connsiteX0" fmla="*/ 350304 w 361337"/>
                  <a:gd name="connsiteY0" fmla="*/ 223422 h 380645"/>
                  <a:gd name="connsiteX1" fmla="*/ 96541 w 361337"/>
                  <a:gd name="connsiteY1" fmla="*/ 223422 h 380645"/>
                  <a:gd name="connsiteX2" fmla="*/ 198597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7 w 361337"/>
                  <a:gd name="connsiteY8" fmla="*/ 168256 h 380645"/>
                  <a:gd name="connsiteX9" fmla="*/ 350304 w 361337"/>
                  <a:gd name="connsiteY9" fmla="*/ 223422 h 380645"/>
                  <a:gd name="connsiteX10" fmla="*/ 96541 w 361337"/>
                  <a:gd name="connsiteY10" fmla="*/ 154465 h 380645"/>
                  <a:gd name="connsiteX11" fmla="*/ 262039 w 361337"/>
                  <a:gd name="connsiteY11" fmla="*/ 154465 h 380645"/>
                  <a:gd name="connsiteX12" fmla="*/ 184806 w 361337"/>
                  <a:gd name="connsiteY12" fmla="*/ 82749 h 380645"/>
                  <a:gd name="connsiteX13" fmla="*/ 96541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0304" y="223422"/>
                    </a:moveTo>
                    <a:lnTo>
                      <a:pt x="96541" y="223422"/>
                    </a:lnTo>
                    <a:cubicBezTo>
                      <a:pt x="107574" y="270313"/>
                      <a:pt x="146190" y="295138"/>
                      <a:pt x="198597" y="295138"/>
                    </a:cubicBezTo>
                    <a:cubicBezTo>
                      <a:pt x="237213" y="295138"/>
                      <a:pt x="270313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7" y="74474"/>
                      <a:pt x="361337" y="168256"/>
                    </a:cubicBezTo>
                    <a:cubicBezTo>
                      <a:pt x="355821" y="190323"/>
                      <a:pt x="353063" y="212389"/>
                      <a:pt x="350304" y="223422"/>
                    </a:cubicBezTo>
                    <a:moveTo>
                      <a:pt x="96541" y="154465"/>
                    </a:moveTo>
                    <a:lnTo>
                      <a:pt x="262039" y="154465"/>
                    </a:lnTo>
                    <a:cubicBezTo>
                      <a:pt x="262039" y="107574"/>
                      <a:pt x="226180" y="82749"/>
                      <a:pt x="184806" y="82749"/>
                    </a:cubicBezTo>
                    <a:cubicBezTo>
                      <a:pt x="140673" y="82749"/>
                      <a:pt x="107574" y="110332"/>
                      <a:pt x="96541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フリーフォーム: 図形 49">
                <a:extLst>
                  <a:ext uri="{FF2B5EF4-FFF2-40B4-BE49-F238E27FC236}">
                    <a16:creationId xmlns:a16="http://schemas.microsoft.com/office/drawing/2014/main" id="{9103CAEA-D8FC-4D52-BC54-9E24B0C37EAF}"/>
                  </a:ext>
                </a:extLst>
              </p:cNvPr>
              <p:cNvSpPr/>
              <p:nvPr/>
            </p:nvSpPr>
            <p:spPr>
              <a:xfrm>
                <a:off x="11449867" y="3331317"/>
                <a:ext cx="223422" cy="362479"/>
              </a:xfrm>
              <a:custGeom>
                <a:avLst/>
                <a:gdLst>
                  <a:gd name="connsiteX0" fmla="*/ 223423 w 223422"/>
                  <a:gd name="connsiteY0" fmla="*/ 3901 h 362479"/>
                  <a:gd name="connsiteX1" fmla="*/ 223423 w 223422"/>
                  <a:gd name="connsiteY1" fmla="*/ 89408 h 362479"/>
                  <a:gd name="connsiteX2" fmla="*/ 195840 w 223422"/>
                  <a:gd name="connsiteY2" fmla="*/ 89408 h 362479"/>
                  <a:gd name="connsiteX3" fmla="*/ 99299 w 223422"/>
                  <a:gd name="connsiteY3" fmla="*/ 183190 h 362479"/>
                  <a:gd name="connsiteX4" fmla="*/ 99299 w 223422"/>
                  <a:gd name="connsiteY4" fmla="*/ 362480 h 362479"/>
                  <a:gd name="connsiteX5" fmla="*/ 0 w 223422"/>
                  <a:gd name="connsiteY5" fmla="*/ 362480 h 362479"/>
                  <a:gd name="connsiteX6" fmla="*/ 0 w 223422"/>
                  <a:gd name="connsiteY6" fmla="*/ 3901 h 362479"/>
                  <a:gd name="connsiteX7" fmla="*/ 91024 w 223422"/>
                  <a:gd name="connsiteY7" fmla="*/ 3901 h 362479"/>
                  <a:gd name="connsiteX8" fmla="*/ 91024 w 223422"/>
                  <a:gd name="connsiteY8" fmla="*/ 48034 h 362479"/>
                  <a:gd name="connsiteX9" fmla="*/ 190323 w 223422"/>
                  <a:gd name="connsiteY9" fmla="*/ 1143 h 362479"/>
                  <a:gd name="connsiteX10" fmla="*/ 223423 w 223422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2" h="362479">
                    <a:moveTo>
                      <a:pt x="223423" y="3901"/>
                    </a:moveTo>
                    <a:lnTo>
                      <a:pt x="223423" y="89408"/>
                    </a:lnTo>
                    <a:lnTo>
                      <a:pt x="195840" y="89408"/>
                    </a:lnTo>
                    <a:cubicBezTo>
                      <a:pt x="137915" y="89408"/>
                      <a:pt x="99299" y="119749"/>
                      <a:pt x="99299" y="183190"/>
                    </a:cubicBezTo>
                    <a:lnTo>
                      <a:pt x="99299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4114" y="-1616"/>
                      <a:pt x="212389" y="1143"/>
                      <a:pt x="223423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" name="グループ化 27">
              <a:extLst>
                <a:ext uri="{FF2B5EF4-FFF2-40B4-BE49-F238E27FC236}">
                  <a16:creationId xmlns:a16="http://schemas.microsoft.com/office/drawing/2014/main" id="{138A00F5-9ABA-4B81-84B5-2956A2D047F5}"/>
                </a:ext>
              </a:extLst>
            </p:cNvPr>
            <p:cNvGrpSpPr/>
            <p:nvPr/>
          </p:nvGrpSpPr>
          <p:grpSpPr>
            <a:xfrm>
              <a:off x="6716618" y="1385538"/>
              <a:ext cx="1186070" cy="1186068"/>
              <a:chOff x="6716618" y="2835966"/>
              <a:chExt cx="1186070" cy="1186068"/>
            </a:xfrm>
          </p:grpSpPr>
          <p:sp>
            <p:nvSpPr>
              <p:cNvPr id="32" name="フリーフォーム: 図形 31">
                <a:extLst>
                  <a:ext uri="{FF2B5EF4-FFF2-40B4-BE49-F238E27FC236}">
                    <a16:creationId xmlns:a16="http://schemas.microsoft.com/office/drawing/2014/main" id="{2018F54C-2E97-466A-833F-8D647A52A4F1}"/>
                  </a:ext>
                </a:extLst>
              </p:cNvPr>
              <p:cNvSpPr/>
              <p:nvPr/>
            </p:nvSpPr>
            <p:spPr>
              <a:xfrm>
                <a:off x="6716618" y="2835966"/>
                <a:ext cx="1186070" cy="1186068"/>
              </a:xfrm>
              <a:custGeom>
                <a:avLst/>
                <a:gdLst>
                  <a:gd name="connsiteX0" fmla="*/ 855074 w 1186070"/>
                  <a:gd name="connsiteY0" fmla="*/ 1186068 h 1186068"/>
                  <a:gd name="connsiteX1" fmla="*/ 330996 w 1186070"/>
                  <a:gd name="connsiteY1" fmla="*/ 1186068 h 1186068"/>
                  <a:gd name="connsiteX2" fmla="*/ 0 w 1186070"/>
                  <a:gd name="connsiteY2" fmla="*/ 855072 h 1186068"/>
                  <a:gd name="connsiteX3" fmla="*/ 0 w 1186070"/>
                  <a:gd name="connsiteY3" fmla="*/ 330996 h 1186068"/>
                  <a:gd name="connsiteX4" fmla="*/ 330996 w 1186070"/>
                  <a:gd name="connsiteY4" fmla="*/ 0 h 1186068"/>
                  <a:gd name="connsiteX5" fmla="*/ 855074 w 1186070"/>
                  <a:gd name="connsiteY5" fmla="*/ 0 h 1186068"/>
                  <a:gd name="connsiteX6" fmla="*/ 1186071 w 1186070"/>
                  <a:gd name="connsiteY6" fmla="*/ 330996 h 1186068"/>
                  <a:gd name="connsiteX7" fmla="*/ 1186071 w 1186070"/>
                  <a:gd name="connsiteY7" fmla="*/ 855072 h 1186068"/>
                  <a:gd name="connsiteX8" fmla="*/ 855074 w 1186070"/>
                  <a:gd name="connsiteY8" fmla="*/ 1186068 h 118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6070" h="1186068">
                    <a:moveTo>
                      <a:pt x="855074" y="1186068"/>
                    </a:moveTo>
                    <a:lnTo>
                      <a:pt x="330996" y="1186068"/>
                    </a:lnTo>
                    <a:cubicBezTo>
                      <a:pt x="148948" y="1186068"/>
                      <a:pt x="0" y="1037120"/>
                      <a:pt x="0" y="855072"/>
                    </a:cubicBezTo>
                    <a:lnTo>
                      <a:pt x="0" y="330996"/>
                    </a:lnTo>
                    <a:cubicBezTo>
                      <a:pt x="0" y="148948"/>
                      <a:pt x="148948" y="0"/>
                      <a:pt x="330996" y="0"/>
                    </a:cubicBezTo>
                    <a:lnTo>
                      <a:pt x="855074" y="0"/>
                    </a:lnTo>
                    <a:cubicBezTo>
                      <a:pt x="1037122" y="0"/>
                      <a:pt x="1186071" y="148948"/>
                      <a:pt x="1186071" y="330996"/>
                    </a:cubicBezTo>
                    <a:lnTo>
                      <a:pt x="1186071" y="855072"/>
                    </a:lnTo>
                    <a:cubicBezTo>
                      <a:pt x="1186071" y="1037120"/>
                      <a:pt x="1037122" y="1186068"/>
                      <a:pt x="855074" y="1186068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フリーフォーム: 図形 32">
                <a:extLst>
                  <a:ext uri="{FF2B5EF4-FFF2-40B4-BE49-F238E27FC236}">
                    <a16:creationId xmlns:a16="http://schemas.microsoft.com/office/drawing/2014/main" id="{41D54DFB-BEFA-46C9-B0C1-89987BC45BF6}"/>
                  </a:ext>
                </a:extLst>
              </p:cNvPr>
              <p:cNvSpPr/>
              <p:nvPr/>
            </p:nvSpPr>
            <p:spPr>
              <a:xfrm rot="20158655">
                <a:off x="7610164" y="3091689"/>
                <a:ext cx="55166" cy="74475"/>
              </a:xfrm>
              <a:custGeom>
                <a:avLst/>
                <a:gdLst>
                  <a:gd name="connsiteX0" fmla="*/ 0 w 55166"/>
                  <a:gd name="connsiteY0" fmla="*/ 0 h 74475"/>
                  <a:gd name="connsiteX1" fmla="*/ 55167 w 55166"/>
                  <a:gd name="connsiteY1" fmla="*/ 0 h 74475"/>
                  <a:gd name="connsiteX2" fmla="*/ 55167 w 55166"/>
                  <a:gd name="connsiteY2" fmla="*/ 74475 h 74475"/>
                  <a:gd name="connsiteX3" fmla="*/ 0 w 55166"/>
                  <a:gd name="connsiteY3" fmla="*/ 74475 h 74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66" h="74475">
                    <a:moveTo>
                      <a:pt x="0" y="0"/>
                    </a:moveTo>
                    <a:lnTo>
                      <a:pt x="55167" y="0"/>
                    </a:lnTo>
                    <a:lnTo>
                      <a:pt x="55167" y="74475"/>
                    </a:lnTo>
                    <a:lnTo>
                      <a:pt x="0" y="74475"/>
                    </a:lnTo>
                    <a:close/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フリーフォーム: 図形 33">
                <a:extLst>
                  <a:ext uri="{FF2B5EF4-FFF2-40B4-BE49-F238E27FC236}">
                    <a16:creationId xmlns:a16="http://schemas.microsoft.com/office/drawing/2014/main" id="{0D86AB51-B6C5-47FD-B507-FBB29E1B46ED}"/>
                  </a:ext>
                </a:extLst>
              </p:cNvPr>
              <p:cNvSpPr/>
              <p:nvPr/>
            </p:nvSpPr>
            <p:spPr>
              <a:xfrm>
                <a:off x="7058647" y="3136508"/>
                <a:ext cx="353062" cy="132809"/>
              </a:xfrm>
              <a:custGeom>
                <a:avLst/>
                <a:gdLst>
                  <a:gd name="connsiteX0" fmla="*/ 88266 w 353062"/>
                  <a:gd name="connsiteY0" fmla="*/ 132510 h 132809"/>
                  <a:gd name="connsiteX1" fmla="*/ 104816 w 353062"/>
                  <a:gd name="connsiteY1" fmla="*/ 129752 h 132809"/>
                  <a:gd name="connsiteX2" fmla="*/ 353063 w 353062"/>
                  <a:gd name="connsiteY2" fmla="*/ 19420 h 132809"/>
                  <a:gd name="connsiteX3" fmla="*/ 330996 w 353062"/>
                  <a:gd name="connsiteY3" fmla="*/ 8387 h 132809"/>
                  <a:gd name="connsiteX4" fmla="*/ 275830 w 353062"/>
                  <a:gd name="connsiteY4" fmla="*/ 2870 h 132809"/>
                  <a:gd name="connsiteX5" fmla="*/ 35858 w 353062"/>
                  <a:gd name="connsiteY5" fmla="*/ 52519 h 132809"/>
                  <a:gd name="connsiteX6" fmla="*/ 0 w 353062"/>
                  <a:gd name="connsiteY6" fmla="*/ 69069 h 132809"/>
                  <a:gd name="connsiteX7" fmla="*/ 8275 w 353062"/>
                  <a:gd name="connsiteY7" fmla="*/ 93894 h 132809"/>
                  <a:gd name="connsiteX8" fmla="*/ 88266 w 353062"/>
                  <a:gd name="connsiteY8" fmla="*/ 132510 h 13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062" h="132809">
                    <a:moveTo>
                      <a:pt x="88266" y="132510"/>
                    </a:moveTo>
                    <a:cubicBezTo>
                      <a:pt x="88266" y="132510"/>
                      <a:pt x="93783" y="132510"/>
                      <a:pt x="104816" y="129752"/>
                    </a:cubicBezTo>
                    <a:lnTo>
                      <a:pt x="353063" y="19420"/>
                    </a:lnTo>
                    <a:cubicBezTo>
                      <a:pt x="344788" y="16662"/>
                      <a:pt x="339271" y="13903"/>
                      <a:pt x="330996" y="8387"/>
                    </a:cubicBezTo>
                    <a:cubicBezTo>
                      <a:pt x="314447" y="112"/>
                      <a:pt x="295139" y="-2647"/>
                      <a:pt x="275830" y="2870"/>
                    </a:cubicBezTo>
                    <a:cubicBezTo>
                      <a:pt x="195840" y="22178"/>
                      <a:pt x="115849" y="47003"/>
                      <a:pt x="35858" y="52519"/>
                    </a:cubicBezTo>
                    <a:cubicBezTo>
                      <a:pt x="22067" y="52519"/>
                      <a:pt x="2758" y="52519"/>
                      <a:pt x="0" y="69069"/>
                    </a:cubicBezTo>
                    <a:cubicBezTo>
                      <a:pt x="0" y="77344"/>
                      <a:pt x="2758" y="85619"/>
                      <a:pt x="8275" y="93894"/>
                    </a:cubicBezTo>
                    <a:cubicBezTo>
                      <a:pt x="30342" y="118719"/>
                      <a:pt x="60683" y="135268"/>
                      <a:pt x="88266" y="132510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フリーフォーム: 図形 34">
                <a:extLst>
                  <a:ext uri="{FF2B5EF4-FFF2-40B4-BE49-F238E27FC236}">
                    <a16:creationId xmlns:a16="http://schemas.microsoft.com/office/drawing/2014/main" id="{BDE46027-B953-4536-93C7-3FC49C8F49BE}"/>
                  </a:ext>
                </a:extLst>
              </p:cNvPr>
              <p:cNvSpPr/>
              <p:nvPr/>
            </p:nvSpPr>
            <p:spPr>
              <a:xfrm>
                <a:off x="7053131" y="3302118"/>
                <a:ext cx="110332" cy="115848"/>
              </a:xfrm>
              <a:custGeom>
                <a:avLst/>
                <a:gdLst>
                  <a:gd name="connsiteX0" fmla="*/ 102057 w 110332"/>
                  <a:gd name="connsiteY0" fmla="*/ 82749 h 115848"/>
                  <a:gd name="connsiteX1" fmla="*/ 110332 w 110332"/>
                  <a:gd name="connsiteY1" fmla="*/ 0 h 115848"/>
                  <a:gd name="connsiteX2" fmla="*/ 107574 w 110332"/>
                  <a:gd name="connsiteY2" fmla="*/ 0 h 115848"/>
                  <a:gd name="connsiteX3" fmla="*/ 0 w 110332"/>
                  <a:gd name="connsiteY3" fmla="*/ 46891 h 115848"/>
                  <a:gd name="connsiteX4" fmla="*/ 30342 w 110332"/>
                  <a:gd name="connsiteY4" fmla="*/ 115849 h 115848"/>
                  <a:gd name="connsiteX5" fmla="*/ 102057 w 110332"/>
                  <a:gd name="connsiteY5" fmla="*/ 82749 h 115848"/>
                  <a:gd name="connsiteX6" fmla="*/ 102057 w 110332"/>
                  <a:gd name="connsiteY6" fmla="*/ 82749 h 11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32" h="115848">
                    <a:moveTo>
                      <a:pt x="102057" y="82749"/>
                    </a:moveTo>
                    <a:cubicBezTo>
                      <a:pt x="91024" y="55166"/>
                      <a:pt x="93783" y="22066"/>
                      <a:pt x="110332" y="0"/>
                    </a:cubicBezTo>
                    <a:cubicBezTo>
                      <a:pt x="110332" y="0"/>
                      <a:pt x="107574" y="0"/>
                      <a:pt x="107574" y="0"/>
                    </a:cubicBezTo>
                    <a:lnTo>
                      <a:pt x="0" y="46891"/>
                    </a:lnTo>
                    <a:lnTo>
                      <a:pt x="30342" y="115849"/>
                    </a:lnTo>
                    <a:lnTo>
                      <a:pt x="102057" y="82749"/>
                    </a:lnTo>
                    <a:cubicBezTo>
                      <a:pt x="102057" y="82749"/>
                      <a:pt x="102057" y="82749"/>
                      <a:pt x="102057" y="8274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フリーフォーム: 図形 35">
                <a:extLst>
                  <a:ext uri="{FF2B5EF4-FFF2-40B4-BE49-F238E27FC236}">
                    <a16:creationId xmlns:a16="http://schemas.microsoft.com/office/drawing/2014/main" id="{81294F40-3234-4661-A4A5-38F5EA825092}"/>
                  </a:ext>
                </a:extLst>
              </p:cNvPr>
              <p:cNvSpPr/>
              <p:nvPr/>
            </p:nvSpPr>
            <p:spPr>
              <a:xfrm>
                <a:off x="7114503" y="3420725"/>
                <a:ext cx="117917" cy="116403"/>
              </a:xfrm>
              <a:custGeom>
                <a:avLst/>
                <a:gdLst>
                  <a:gd name="connsiteX0" fmla="*/ 117917 w 117917"/>
                  <a:gd name="connsiteY0" fmla="*/ 52408 h 116403"/>
                  <a:gd name="connsiteX1" fmla="*/ 65510 w 117917"/>
                  <a:gd name="connsiteY1" fmla="*/ 0 h 116403"/>
                  <a:gd name="connsiteX2" fmla="*/ 10344 w 117917"/>
                  <a:gd name="connsiteY2" fmla="*/ 49649 h 116403"/>
                  <a:gd name="connsiteX3" fmla="*/ 10344 w 117917"/>
                  <a:gd name="connsiteY3" fmla="*/ 102057 h 116403"/>
                  <a:gd name="connsiteX4" fmla="*/ 62751 w 117917"/>
                  <a:gd name="connsiteY4" fmla="*/ 107574 h 116403"/>
                  <a:gd name="connsiteX5" fmla="*/ 117917 w 117917"/>
                  <a:gd name="connsiteY5" fmla="*/ 52408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403">
                    <a:moveTo>
                      <a:pt x="117917" y="52408"/>
                    </a:moveTo>
                    <a:cubicBezTo>
                      <a:pt x="101368" y="35858"/>
                      <a:pt x="82059" y="19308"/>
                      <a:pt x="65510" y="0"/>
                    </a:cubicBezTo>
                    <a:cubicBezTo>
                      <a:pt x="46202" y="19308"/>
                      <a:pt x="29652" y="35858"/>
                      <a:pt x="10344" y="49649"/>
                    </a:cubicBezTo>
                    <a:cubicBezTo>
                      <a:pt x="-3448" y="60683"/>
                      <a:pt x="-3448" y="85507"/>
                      <a:pt x="10344" y="102057"/>
                    </a:cubicBezTo>
                    <a:cubicBezTo>
                      <a:pt x="24135" y="118607"/>
                      <a:pt x="48960" y="121365"/>
                      <a:pt x="62751" y="107574"/>
                    </a:cubicBezTo>
                    <a:cubicBezTo>
                      <a:pt x="82059" y="91024"/>
                      <a:pt x="101368" y="71716"/>
                      <a:pt x="117917" y="52408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フリーフォーム: 図形 36">
                <a:extLst>
                  <a:ext uri="{FF2B5EF4-FFF2-40B4-BE49-F238E27FC236}">
                    <a16:creationId xmlns:a16="http://schemas.microsoft.com/office/drawing/2014/main" id="{0F4A3C0C-68A8-42D8-8291-4B61AF65F5E7}"/>
                  </a:ext>
                </a:extLst>
              </p:cNvPr>
              <p:cNvSpPr/>
              <p:nvPr/>
            </p:nvSpPr>
            <p:spPr>
              <a:xfrm>
                <a:off x="7188977" y="3489682"/>
                <a:ext cx="117917" cy="116640"/>
              </a:xfrm>
              <a:custGeom>
                <a:avLst/>
                <a:gdLst>
                  <a:gd name="connsiteX0" fmla="*/ 10344 w 117917"/>
                  <a:gd name="connsiteY0" fmla="*/ 57924 h 116640"/>
                  <a:gd name="connsiteX1" fmla="*/ 10344 w 117917"/>
                  <a:gd name="connsiteY1" fmla="*/ 107574 h 116640"/>
                  <a:gd name="connsiteX2" fmla="*/ 62751 w 117917"/>
                  <a:gd name="connsiteY2" fmla="*/ 104815 h 116640"/>
                  <a:gd name="connsiteX3" fmla="*/ 117917 w 117917"/>
                  <a:gd name="connsiteY3" fmla="*/ 44133 h 116640"/>
                  <a:gd name="connsiteX4" fmla="*/ 65510 w 117917"/>
                  <a:gd name="connsiteY4" fmla="*/ 0 h 116640"/>
                  <a:gd name="connsiteX5" fmla="*/ 10344 w 117917"/>
                  <a:gd name="connsiteY5" fmla="*/ 57924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640">
                    <a:moveTo>
                      <a:pt x="10344" y="57924"/>
                    </a:moveTo>
                    <a:cubicBezTo>
                      <a:pt x="-3448" y="71716"/>
                      <a:pt x="-3448" y="93782"/>
                      <a:pt x="10344" y="107574"/>
                    </a:cubicBezTo>
                    <a:cubicBezTo>
                      <a:pt x="24135" y="121365"/>
                      <a:pt x="48960" y="118607"/>
                      <a:pt x="62751" y="104815"/>
                    </a:cubicBezTo>
                    <a:cubicBezTo>
                      <a:pt x="82060" y="85507"/>
                      <a:pt x="98609" y="66199"/>
                      <a:pt x="117917" y="44133"/>
                    </a:cubicBezTo>
                    <a:cubicBezTo>
                      <a:pt x="101368" y="30341"/>
                      <a:pt x="82060" y="16550"/>
                      <a:pt x="65510" y="0"/>
                    </a:cubicBezTo>
                    <a:cubicBezTo>
                      <a:pt x="46202" y="22066"/>
                      <a:pt x="29652" y="41374"/>
                      <a:pt x="10344" y="57924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フリーフォーム: 図形 37">
                <a:extLst>
                  <a:ext uri="{FF2B5EF4-FFF2-40B4-BE49-F238E27FC236}">
                    <a16:creationId xmlns:a16="http://schemas.microsoft.com/office/drawing/2014/main" id="{1959849C-E1AB-4EE7-B8B0-BEDDCD5E1CFE}"/>
                  </a:ext>
                </a:extLst>
              </p:cNvPr>
              <p:cNvSpPr/>
              <p:nvPr/>
            </p:nvSpPr>
            <p:spPr>
              <a:xfrm>
                <a:off x="7178117" y="3238677"/>
                <a:ext cx="564590" cy="532351"/>
              </a:xfrm>
              <a:custGeom>
                <a:avLst/>
                <a:gdLst>
                  <a:gd name="connsiteX0" fmla="*/ 559074 w 564590"/>
                  <a:gd name="connsiteY0" fmla="*/ 375129 h 532351"/>
                  <a:gd name="connsiteX1" fmla="*/ 528732 w 564590"/>
                  <a:gd name="connsiteY1" fmla="*/ 336512 h 532351"/>
                  <a:gd name="connsiteX2" fmla="*/ 484599 w 564590"/>
                  <a:gd name="connsiteY2" fmla="*/ 253763 h 532351"/>
                  <a:gd name="connsiteX3" fmla="*/ 451500 w 564590"/>
                  <a:gd name="connsiteY3" fmla="*/ 154465 h 532351"/>
                  <a:gd name="connsiteX4" fmla="*/ 412884 w 564590"/>
                  <a:gd name="connsiteY4" fmla="*/ 55166 h 532351"/>
                  <a:gd name="connsiteX5" fmla="*/ 407367 w 564590"/>
                  <a:gd name="connsiteY5" fmla="*/ 46891 h 532351"/>
                  <a:gd name="connsiteX6" fmla="*/ 377025 w 564590"/>
                  <a:gd name="connsiteY6" fmla="*/ 0 h 532351"/>
                  <a:gd name="connsiteX7" fmla="*/ 363234 w 564590"/>
                  <a:gd name="connsiteY7" fmla="*/ 5517 h 532351"/>
                  <a:gd name="connsiteX8" fmla="*/ 363234 w 564590"/>
                  <a:gd name="connsiteY8" fmla="*/ 5517 h 532351"/>
                  <a:gd name="connsiteX9" fmla="*/ 228077 w 564590"/>
                  <a:gd name="connsiteY9" fmla="*/ 66199 h 532351"/>
                  <a:gd name="connsiteX10" fmla="*/ 159120 w 564590"/>
                  <a:gd name="connsiteY10" fmla="*/ 96540 h 532351"/>
                  <a:gd name="connsiteX11" fmla="*/ 159120 w 564590"/>
                  <a:gd name="connsiteY11" fmla="*/ 96540 h 532351"/>
                  <a:gd name="connsiteX12" fmla="*/ 159120 w 564590"/>
                  <a:gd name="connsiteY12" fmla="*/ 96540 h 532351"/>
                  <a:gd name="connsiteX13" fmla="*/ 181186 w 564590"/>
                  <a:gd name="connsiteY13" fmla="*/ 115848 h 532351"/>
                  <a:gd name="connsiteX14" fmla="*/ 200494 w 564590"/>
                  <a:gd name="connsiteY14" fmla="*/ 129640 h 532351"/>
                  <a:gd name="connsiteX15" fmla="*/ 230836 w 564590"/>
                  <a:gd name="connsiteY15" fmla="*/ 151706 h 532351"/>
                  <a:gd name="connsiteX16" fmla="*/ 338409 w 564590"/>
                  <a:gd name="connsiteY16" fmla="*/ 168256 h 532351"/>
                  <a:gd name="connsiteX17" fmla="*/ 352201 w 564590"/>
                  <a:gd name="connsiteY17" fmla="*/ 179289 h 532351"/>
                  <a:gd name="connsiteX18" fmla="*/ 338409 w 564590"/>
                  <a:gd name="connsiteY18" fmla="*/ 198597 h 532351"/>
                  <a:gd name="connsiteX19" fmla="*/ 208769 w 564590"/>
                  <a:gd name="connsiteY19" fmla="*/ 179289 h 532351"/>
                  <a:gd name="connsiteX20" fmla="*/ 206011 w 564590"/>
                  <a:gd name="connsiteY20" fmla="*/ 179289 h 532351"/>
                  <a:gd name="connsiteX21" fmla="*/ 139812 w 564590"/>
                  <a:gd name="connsiteY21" fmla="*/ 129640 h 532351"/>
                  <a:gd name="connsiteX22" fmla="*/ 114987 w 564590"/>
                  <a:gd name="connsiteY22" fmla="*/ 107574 h 532351"/>
                  <a:gd name="connsiteX23" fmla="*/ 95679 w 564590"/>
                  <a:gd name="connsiteY23" fmla="*/ 91024 h 532351"/>
                  <a:gd name="connsiteX24" fmla="*/ 76371 w 564590"/>
                  <a:gd name="connsiteY24" fmla="*/ 71716 h 532351"/>
                  <a:gd name="connsiteX25" fmla="*/ 12929 w 564590"/>
                  <a:gd name="connsiteY25" fmla="*/ 74474 h 532351"/>
                  <a:gd name="connsiteX26" fmla="*/ 4654 w 564590"/>
                  <a:gd name="connsiteY26" fmla="*/ 132398 h 532351"/>
                  <a:gd name="connsiteX27" fmla="*/ 34996 w 564590"/>
                  <a:gd name="connsiteY27" fmla="*/ 165498 h 532351"/>
                  <a:gd name="connsiteX28" fmla="*/ 87404 w 564590"/>
                  <a:gd name="connsiteY28" fmla="*/ 215147 h 532351"/>
                  <a:gd name="connsiteX29" fmla="*/ 161878 w 564590"/>
                  <a:gd name="connsiteY29" fmla="*/ 273071 h 532351"/>
                  <a:gd name="connsiteX30" fmla="*/ 167395 w 564590"/>
                  <a:gd name="connsiteY30" fmla="*/ 281346 h 532351"/>
                  <a:gd name="connsiteX31" fmla="*/ 219802 w 564590"/>
                  <a:gd name="connsiteY31" fmla="*/ 408228 h 532351"/>
                  <a:gd name="connsiteX32" fmla="*/ 272210 w 564590"/>
                  <a:gd name="connsiteY32" fmla="*/ 438569 h 532351"/>
                  <a:gd name="connsiteX33" fmla="*/ 330134 w 564590"/>
                  <a:gd name="connsiteY33" fmla="*/ 452361 h 532351"/>
                  <a:gd name="connsiteX34" fmla="*/ 363234 w 564590"/>
                  <a:gd name="connsiteY34" fmla="*/ 466152 h 532351"/>
                  <a:gd name="connsiteX35" fmla="*/ 423917 w 564590"/>
                  <a:gd name="connsiteY35" fmla="*/ 532352 h 532351"/>
                  <a:gd name="connsiteX36" fmla="*/ 501149 w 564590"/>
                  <a:gd name="connsiteY36" fmla="*/ 441328 h 532351"/>
                  <a:gd name="connsiteX37" fmla="*/ 564591 w 564590"/>
                  <a:gd name="connsiteY37" fmla="*/ 383403 h 532351"/>
                  <a:gd name="connsiteX38" fmla="*/ 559074 w 564590"/>
                  <a:gd name="connsiteY38" fmla="*/ 375129 h 53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64590" h="532351">
                    <a:moveTo>
                      <a:pt x="559074" y="375129"/>
                    </a:moveTo>
                    <a:cubicBezTo>
                      <a:pt x="548041" y="361337"/>
                      <a:pt x="537008" y="350304"/>
                      <a:pt x="528732" y="336512"/>
                    </a:cubicBezTo>
                    <a:cubicBezTo>
                      <a:pt x="509425" y="311688"/>
                      <a:pt x="492875" y="284105"/>
                      <a:pt x="484599" y="253763"/>
                    </a:cubicBezTo>
                    <a:cubicBezTo>
                      <a:pt x="473566" y="226180"/>
                      <a:pt x="462533" y="187564"/>
                      <a:pt x="451500" y="154465"/>
                    </a:cubicBezTo>
                    <a:cubicBezTo>
                      <a:pt x="434950" y="110332"/>
                      <a:pt x="418400" y="66199"/>
                      <a:pt x="412884" y="55166"/>
                    </a:cubicBezTo>
                    <a:cubicBezTo>
                      <a:pt x="412884" y="52408"/>
                      <a:pt x="410125" y="49649"/>
                      <a:pt x="407367" y="46891"/>
                    </a:cubicBezTo>
                    <a:cubicBezTo>
                      <a:pt x="401850" y="35858"/>
                      <a:pt x="390817" y="19308"/>
                      <a:pt x="377025" y="0"/>
                    </a:cubicBezTo>
                    <a:lnTo>
                      <a:pt x="363234" y="5517"/>
                    </a:lnTo>
                    <a:cubicBezTo>
                      <a:pt x="363234" y="5517"/>
                      <a:pt x="363234" y="5517"/>
                      <a:pt x="363234" y="5517"/>
                    </a:cubicBezTo>
                    <a:lnTo>
                      <a:pt x="228077" y="66199"/>
                    </a:lnTo>
                    <a:lnTo>
                      <a:pt x="159120" y="96540"/>
                    </a:lnTo>
                    <a:lnTo>
                      <a:pt x="159120" y="96540"/>
                    </a:lnTo>
                    <a:lnTo>
                      <a:pt x="159120" y="96540"/>
                    </a:lnTo>
                    <a:cubicBezTo>
                      <a:pt x="167395" y="102057"/>
                      <a:pt x="172911" y="110332"/>
                      <a:pt x="181186" y="115848"/>
                    </a:cubicBezTo>
                    <a:cubicBezTo>
                      <a:pt x="186703" y="121365"/>
                      <a:pt x="194978" y="126882"/>
                      <a:pt x="200494" y="129640"/>
                    </a:cubicBezTo>
                    <a:cubicBezTo>
                      <a:pt x="211527" y="137915"/>
                      <a:pt x="222561" y="146190"/>
                      <a:pt x="230836" y="151706"/>
                    </a:cubicBezTo>
                    <a:cubicBezTo>
                      <a:pt x="258419" y="173773"/>
                      <a:pt x="297035" y="176531"/>
                      <a:pt x="338409" y="168256"/>
                    </a:cubicBezTo>
                    <a:cubicBezTo>
                      <a:pt x="346684" y="165498"/>
                      <a:pt x="352201" y="171014"/>
                      <a:pt x="352201" y="179289"/>
                    </a:cubicBezTo>
                    <a:cubicBezTo>
                      <a:pt x="352201" y="187564"/>
                      <a:pt x="346684" y="195839"/>
                      <a:pt x="338409" y="198597"/>
                    </a:cubicBezTo>
                    <a:cubicBezTo>
                      <a:pt x="288760" y="209631"/>
                      <a:pt x="244627" y="204114"/>
                      <a:pt x="208769" y="179289"/>
                    </a:cubicBezTo>
                    <a:cubicBezTo>
                      <a:pt x="208769" y="179289"/>
                      <a:pt x="208769" y="179289"/>
                      <a:pt x="206011" y="179289"/>
                    </a:cubicBezTo>
                    <a:cubicBezTo>
                      <a:pt x="183944" y="162740"/>
                      <a:pt x="161878" y="146190"/>
                      <a:pt x="139812" y="129640"/>
                    </a:cubicBezTo>
                    <a:cubicBezTo>
                      <a:pt x="134295" y="126882"/>
                      <a:pt x="114987" y="107574"/>
                      <a:pt x="114987" y="107574"/>
                    </a:cubicBezTo>
                    <a:cubicBezTo>
                      <a:pt x="109470" y="102057"/>
                      <a:pt x="101195" y="96540"/>
                      <a:pt x="95679" y="91024"/>
                    </a:cubicBezTo>
                    <a:cubicBezTo>
                      <a:pt x="90162" y="85507"/>
                      <a:pt x="81887" y="77232"/>
                      <a:pt x="76371" y="71716"/>
                    </a:cubicBezTo>
                    <a:cubicBezTo>
                      <a:pt x="59821" y="55166"/>
                      <a:pt x="29479" y="55166"/>
                      <a:pt x="12929" y="74474"/>
                    </a:cubicBezTo>
                    <a:cubicBezTo>
                      <a:pt x="-862" y="91024"/>
                      <a:pt x="-3620" y="113090"/>
                      <a:pt x="4654" y="132398"/>
                    </a:cubicBezTo>
                    <a:cubicBezTo>
                      <a:pt x="7413" y="140673"/>
                      <a:pt x="29479" y="162740"/>
                      <a:pt x="34996" y="165498"/>
                    </a:cubicBezTo>
                    <a:cubicBezTo>
                      <a:pt x="51546" y="184806"/>
                      <a:pt x="70854" y="201356"/>
                      <a:pt x="87404" y="215147"/>
                    </a:cubicBezTo>
                    <a:cubicBezTo>
                      <a:pt x="109470" y="234455"/>
                      <a:pt x="161878" y="273071"/>
                      <a:pt x="161878" y="273071"/>
                    </a:cubicBezTo>
                    <a:cubicBezTo>
                      <a:pt x="164636" y="275830"/>
                      <a:pt x="167395" y="278588"/>
                      <a:pt x="167395" y="281346"/>
                    </a:cubicBezTo>
                    <a:cubicBezTo>
                      <a:pt x="167395" y="344787"/>
                      <a:pt x="181186" y="377887"/>
                      <a:pt x="219802" y="408228"/>
                    </a:cubicBezTo>
                    <a:cubicBezTo>
                      <a:pt x="236352" y="419261"/>
                      <a:pt x="252902" y="430294"/>
                      <a:pt x="272210" y="438569"/>
                    </a:cubicBezTo>
                    <a:cubicBezTo>
                      <a:pt x="291518" y="446844"/>
                      <a:pt x="310826" y="446844"/>
                      <a:pt x="330134" y="452361"/>
                    </a:cubicBezTo>
                    <a:cubicBezTo>
                      <a:pt x="341168" y="455119"/>
                      <a:pt x="352201" y="457877"/>
                      <a:pt x="363234" y="466152"/>
                    </a:cubicBezTo>
                    <a:cubicBezTo>
                      <a:pt x="374267" y="474427"/>
                      <a:pt x="412884" y="521318"/>
                      <a:pt x="423917" y="532352"/>
                    </a:cubicBezTo>
                    <a:cubicBezTo>
                      <a:pt x="423917" y="532352"/>
                      <a:pt x="498391" y="446844"/>
                      <a:pt x="501149" y="441328"/>
                    </a:cubicBezTo>
                    <a:cubicBezTo>
                      <a:pt x="523216" y="419261"/>
                      <a:pt x="545282" y="399953"/>
                      <a:pt x="564591" y="383403"/>
                    </a:cubicBezTo>
                    <a:cubicBezTo>
                      <a:pt x="564591" y="383403"/>
                      <a:pt x="564591" y="383403"/>
                      <a:pt x="559074" y="37512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フリーフォーム: 図形 38">
                <a:extLst>
                  <a:ext uri="{FF2B5EF4-FFF2-40B4-BE49-F238E27FC236}">
                    <a16:creationId xmlns:a16="http://schemas.microsoft.com/office/drawing/2014/main" id="{CE857672-2703-4A52-A050-DAA8C6479576}"/>
                  </a:ext>
                </a:extLst>
              </p:cNvPr>
              <p:cNvSpPr/>
              <p:nvPr/>
            </p:nvSpPr>
            <p:spPr>
              <a:xfrm>
                <a:off x="7232421" y="3120070"/>
                <a:ext cx="366854" cy="198597"/>
              </a:xfrm>
              <a:custGeom>
                <a:avLst/>
                <a:gdLst>
                  <a:gd name="connsiteX0" fmla="*/ 11033 w 366854"/>
                  <a:gd name="connsiteY0" fmla="*/ 143431 h 198597"/>
                  <a:gd name="connsiteX1" fmla="*/ 0 w 366854"/>
                  <a:gd name="connsiteY1" fmla="*/ 148948 h 198597"/>
                  <a:gd name="connsiteX2" fmla="*/ 46891 w 366854"/>
                  <a:gd name="connsiteY2" fmla="*/ 176531 h 198597"/>
                  <a:gd name="connsiteX3" fmla="*/ 46891 w 366854"/>
                  <a:gd name="connsiteY3" fmla="*/ 176531 h 198597"/>
                  <a:gd name="connsiteX4" fmla="*/ 74474 w 366854"/>
                  <a:gd name="connsiteY4" fmla="*/ 198597 h 198597"/>
                  <a:gd name="connsiteX5" fmla="*/ 366854 w 366854"/>
                  <a:gd name="connsiteY5" fmla="*/ 68957 h 198597"/>
                  <a:gd name="connsiteX6" fmla="*/ 336513 w 366854"/>
                  <a:gd name="connsiteY6" fmla="*/ 0 h 198597"/>
                  <a:gd name="connsiteX7" fmla="*/ 11033 w 366854"/>
                  <a:gd name="connsiteY7" fmla="*/ 143431 h 198597"/>
                  <a:gd name="connsiteX8" fmla="*/ 11033 w 366854"/>
                  <a:gd name="connsiteY8" fmla="*/ 143431 h 198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6854" h="198597">
                    <a:moveTo>
                      <a:pt x="11033" y="143431"/>
                    </a:moveTo>
                    <a:lnTo>
                      <a:pt x="0" y="148948"/>
                    </a:lnTo>
                    <a:cubicBezTo>
                      <a:pt x="0" y="148948"/>
                      <a:pt x="27583" y="157223"/>
                      <a:pt x="46891" y="176531"/>
                    </a:cubicBezTo>
                    <a:lnTo>
                      <a:pt x="46891" y="176531"/>
                    </a:lnTo>
                    <a:cubicBezTo>
                      <a:pt x="55166" y="184806"/>
                      <a:pt x="66200" y="193081"/>
                      <a:pt x="74474" y="198597"/>
                    </a:cubicBezTo>
                    <a:lnTo>
                      <a:pt x="366854" y="68957"/>
                    </a:lnTo>
                    <a:lnTo>
                      <a:pt x="336513" y="0"/>
                    </a:lnTo>
                    <a:lnTo>
                      <a:pt x="11033" y="143431"/>
                    </a:lnTo>
                    <a:cubicBezTo>
                      <a:pt x="11033" y="143431"/>
                      <a:pt x="11033" y="143431"/>
                      <a:pt x="11033" y="143431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フリーフォーム: 図形 39">
                <a:extLst>
                  <a:ext uri="{FF2B5EF4-FFF2-40B4-BE49-F238E27FC236}">
                    <a16:creationId xmlns:a16="http://schemas.microsoft.com/office/drawing/2014/main" id="{5D1E99EB-838A-495E-AD5E-19A26A10D138}"/>
                  </a:ext>
                </a:extLst>
              </p:cNvPr>
              <p:cNvSpPr/>
              <p:nvPr/>
            </p:nvSpPr>
            <p:spPr>
              <a:xfrm>
                <a:off x="6862808" y="3365559"/>
                <a:ext cx="193081" cy="140673"/>
              </a:xfrm>
              <a:custGeom>
                <a:avLst/>
                <a:gdLst>
                  <a:gd name="connsiteX0" fmla="*/ 137915 w 193081"/>
                  <a:gd name="connsiteY0" fmla="*/ 11033 h 140673"/>
                  <a:gd name="connsiteX1" fmla="*/ 63441 w 193081"/>
                  <a:gd name="connsiteY1" fmla="*/ 0 h 140673"/>
                  <a:gd name="connsiteX2" fmla="*/ 60683 w 193081"/>
                  <a:gd name="connsiteY2" fmla="*/ 0 h 140673"/>
                  <a:gd name="connsiteX3" fmla="*/ 57924 w 193081"/>
                  <a:gd name="connsiteY3" fmla="*/ 2758 h 140673"/>
                  <a:gd name="connsiteX4" fmla="*/ 13792 w 193081"/>
                  <a:gd name="connsiteY4" fmla="*/ 79991 h 140673"/>
                  <a:gd name="connsiteX5" fmla="*/ 0 w 193081"/>
                  <a:gd name="connsiteY5" fmla="*/ 104815 h 140673"/>
                  <a:gd name="connsiteX6" fmla="*/ 63441 w 193081"/>
                  <a:gd name="connsiteY6" fmla="*/ 74474 h 140673"/>
                  <a:gd name="connsiteX7" fmla="*/ 68958 w 193081"/>
                  <a:gd name="connsiteY7" fmla="*/ 66199 h 140673"/>
                  <a:gd name="connsiteX8" fmla="*/ 77233 w 193081"/>
                  <a:gd name="connsiteY8" fmla="*/ 55166 h 140673"/>
                  <a:gd name="connsiteX9" fmla="*/ 91024 w 193081"/>
                  <a:gd name="connsiteY9" fmla="*/ 49649 h 140673"/>
                  <a:gd name="connsiteX10" fmla="*/ 113090 w 193081"/>
                  <a:gd name="connsiteY10" fmla="*/ 71716 h 140673"/>
                  <a:gd name="connsiteX11" fmla="*/ 85507 w 193081"/>
                  <a:gd name="connsiteY11" fmla="*/ 91024 h 140673"/>
                  <a:gd name="connsiteX12" fmla="*/ 79991 w 193081"/>
                  <a:gd name="connsiteY12" fmla="*/ 88265 h 140673"/>
                  <a:gd name="connsiteX13" fmla="*/ 71716 w 193081"/>
                  <a:gd name="connsiteY13" fmla="*/ 91024 h 140673"/>
                  <a:gd name="connsiteX14" fmla="*/ 8275 w 193081"/>
                  <a:gd name="connsiteY14" fmla="*/ 121365 h 140673"/>
                  <a:gd name="connsiteX15" fmla="*/ 88266 w 193081"/>
                  <a:gd name="connsiteY15" fmla="*/ 135157 h 140673"/>
                  <a:gd name="connsiteX16" fmla="*/ 124124 w 193081"/>
                  <a:gd name="connsiteY16" fmla="*/ 140673 h 140673"/>
                  <a:gd name="connsiteX17" fmla="*/ 129640 w 193081"/>
                  <a:gd name="connsiteY17" fmla="*/ 140673 h 140673"/>
                  <a:gd name="connsiteX18" fmla="*/ 143432 w 193081"/>
                  <a:gd name="connsiteY18" fmla="*/ 118607 h 140673"/>
                  <a:gd name="connsiteX19" fmla="*/ 168256 w 193081"/>
                  <a:gd name="connsiteY19" fmla="*/ 77232 h 140673"/>
                  <a:gd name="connsiteX20" fmla="*/ 179290 w 193081"/>
                  <a:gd name="connsiteY20" fmla="*/ 66199 h 140673"/>
                  <a:gd name="connsiteX21" fmla="*/ 193081 w 193081"/>
                  <a:gd name="connsiteY21" fmla="*/ 60683 h 140673"/>
                  <a:gd name="connsiteX22" fmla="*/ 168256 w 193081"/>
                  <a:gd name="connsiteY22" fmla="*/ 8275 h 140673"/>
                  <a:gd name="connsiteX23" fmla="*/ 137915 w 193081"/>
                  <a:gd name="connsiteY23" fmla="*/ 11033 h 140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93081" h="140673">
                    <a:moveTo>
                      <a:pt x="137915" y="11033"/>
                    </a:moveTo>
                    <a:cubicBezTo>
                      <a:pt x="124124" y="8275"/>
                      <a:pt x="63441" y="0"/>
                      <a:pt x="63441" y="0"/>
                    </a:cubicBezTo>
                    <a:cubicBezTo>
                      <a:pt x="63441" y="0"/>
                      <a:pt x="60683" y="0"/>
                      <a:pt x="60683" y="0"/>
                    </a:cubicBezTo>
                    <a:cubicBezTo>
                      <a:pt x="60683" y="0"/>
                      <a:pt x="57924" y="2758"/>
                      <a:pt x="57924" y="2758"/>
                    </a:cubicBezTo>
                    <a:cubicBezTo>
                      <a:pt x="57924" y="2758"/>
                      <a:pt x="13792" y="79991"/>
                      <a:pt x="13792" y="79991"/>
                    </a:cubicBezTo>
                    <a:lnTo>
                      <a:pt x="0" y="104815"/>
                    </a:lnTo>
                    <a:cubicBezTo>
                      <a:pt x="5517" y="102057"/>
                      <a:pt x="60683" y="77232"/>
                      <a:pt x="63441" y="74474"/>
                    </a:cubicBezTo>
                    <a:cubicBezTo>
                      <a:pt x="68958" y="71716"/>
                      <a:pt x="68958" y="68957"/>
                      <a:pt x="68958" y="66199"/>
                    </a:cubicBezTo>
                    <a:cubicBezTo>
                      <a:pt x="68958" y="63441"/>
                      <a:pt x="71716" y="57924"/>
                      <a:pt x="77233" y="55166"/>
                    </a:cubicBezTo>
                    <a:cubicBezTo>
                      <a:pt x="82749" y="52408"/>
                      <a:pt x="88266" y="49649"/>
                      <a:pt x="91024" y="49649"/>
                    </a:cubicBezTo>
                    <a:cubicBezTo>
                      <a:pt x="102057" y="49649"/>
                      <a:pt x="113090" y="57924"/>
                      <a:pt x="113090" y="71716"/>
                    </a:cubicBezTo>
                    <a:cubicBezTo>
                      <a:pt x="113090" y="85507"/>
                      <a:pt x="99299" y="96540"/>
                      <a:pt x="85507" y="91024"/>
                    </a:cubicBezTo>
                    <a:cubicBezTo>
                      <a:pt x="82749" y="91024"/>
                      <a:pt x="79991" y="88265"/>
                      <a:pt x="79991" y="88265"/>
                    </a:cubicBezTo>
                    <a:cubicBezTo>
                      <a:pt x="77233" y="88265"/>
                      <a:pt x="74474" y="88265"/>
                      <a:pt x="71716" y="91024"/>
                    </a:cubicBezTo>
                    <a:cubicBezTo>
                      <a:pt x="60683" y="96540"/>
                      <a:pt x="11033" y="118607"/>
                      <a:pt x="8275" y="121365"/>
                    </a:cubicBezTo>
                    <a:lnTo>
                      <a:pt x="88266" y="135157"/>
                    </a:lnTo>
                    <a:lnTo>
                      <a:pt x="124124" y="140673"/>
                    </a:lnTo>
                    <a:cubicBezTo>
                      <a:pt x="124124" y="140673"/>
                      <a:pt x="126882" y="140673"/>
                      <a:pt x="129640" y="140673"/>
                    </a:cubicBezTo>
                    <a:lnTo>
                      <a:pt x="143432" y="118607"/>
                    </a:lnTo>
                    <a:lnTo>
                      <a:pt x="168256" y="77232"/>
                    </a:lnTo>
                    <a:cubicBezTo>
                      <a:pt x="168256" y="77232"/>
                      <a:pt x="171015" y="71716"/>
                      <a:pt x="179290" y="66199"/>
                    </a:cubicBezTo>
                    <a:cubicBezTo>
                      <a:pt x="184806" y="63441"/>
                      <a:pt x="193081" y="60683"/>
                      <a:pt x="193081" y="60683"/>
                    </a:cubicBezTo>
                    <a:lnTo>
                      <a:pt x="168256" y="8275"/>
                    </a:lnTo>
                    <a:cubicBezTo>
                      <a:pt x="165498" y="5517"/>
                      <a:pt x="151707" y="13791"/>
                      <a:pt x="137915" y="11033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1" name="グループ化 50">
            <a:extLst>
              <a:ext uri="{FF2B5EF4-FFF2-40B4-BE49-F238E27FC236}">
                <a16:creationId xmlns:a16="http://schemas.microsoft.com/office/drawing/2014/main" id="{6A86D901-F888-4F5B-8430-6A12CAFF172A}"/>
              </a:ext>
            </a:extLst>
          </p:cNvPr>
          <p:cNvGrpSpPr>
            <a:grpSpLocks noChangeAspect="1"/>
          </p:cNvGrpSpPr>
          <p:nvPr/>
        </p:nvGrpSpPr>
        <p:grpSpPr>
          <a:xfrm>
            <a:off x="4990316" y="521775"/>
            <a:ext cx="3752249" cy="628297"/>
            <a:chOff x="600862" y="4369802"/>
            <a:chExt cx="10981721" cy="1838840"/>
          </a:xfrm>
        </p:grpSpPr>
        <p:sp>
          <p:nvSpPr>
            <p:cNvPr id="52" name="フリーフォーム: 図形 51">
              <a:extLst>
                <a:ext uri="{FF2B5EF4-FFF2-40B4-BE49-F238E27FC236}">
                  <a16:creationId xmlns:a16="http://schemas.microsoft.com/office/drawing/2014/main" id="{3061F2F7-7715-405B-A88C-B1E2193516CA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フリーフォーム: 図形 52">
              <a:extLst>
                <a:ext uri="{FF2B5EF4-FFF2-40B4-BE49-F238E27FC236}">
                  <a16:creationId xmlns:a16="http://schemas.microsoft.com/office/drawing/2014/main" id="{0E938101-7A07-4506-85E8-F9A3943E3CCF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フリーフォーム: 図形 53">
              <a:extLst>
                <a:ext uri="{FF2B5EF4-FFF2-40B4-BE49-F238E27FC236}">
                  <a16:creationId xmlns:a16="http://schemas.microsoft.com/office/drawing/2014/main" id="{A3C4479A-5E58-4535-97B0-4C8B1457FDF1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フリーフォーム: 図形 54">
              <a:extLst>
                <a:ext uri="{FF2B5EF4-FFF2-40B4-BE49-F238E27FC236}">
                  <a16:creationId xmlns:a16="http://schemas.microsoft.com/office/drawing/2014/main" id="{4BF11680-B1CD-43BC-8546-CDA32AFF31FE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フリーフォーム: 図形 55">
              <a:extLst>
                <a:ext uri="{FF2B5EF4-FFF2-40B4-BE49-F238E27FC236}">
                  <a16:creationId xmlns:a16="http://schemas.microsoft.com/office/drawing/2014/main" id="{64C8766B-2D6A-47C9-96A1-3E8FE35D2EAE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フリーフォーム: 図形 56">
              <a:extLst>
                <a:ext uri="{FF2B5EF4-FFF2-40B4-BE49-F238E27FC236}">
                  <a16:creationId xmlns:a16="http://schemas.microsoft.com/office/drawing/2014/main" id="{3D2D871A-03F4-4342-92F7-40832B8ABF72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フリーフォーム: 図形 57">
              <a:extLst>
                <a:ext uri="{FF2B5EF4-FFF2-40B4-BE49-F238E27FC236}">
                  <a16:creationId xmlns:a16="http://schemas.microsoft.com/office/drawing/2014/main" id="{7561952E-EB69-420E-96DB-7C674AD468D7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フリーフォーム: 図形 58">
              <a:extLst>
                <a:ext uri="{FF2B5EF4-FFF2-40B4-BE49-F238E27FC236}">
                  <a16:creationId xmlns:a16="http://schemas.microsoft.com/office/drawing/2014/main" id="{932EA9C9-4140-4307-A5AF-85CD1AED70EE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フリーフォーム: 図形 59">
              <a:extLst>
                <a:ext uri="{FF2B5EF4-FFF2-40B4-BE49-F238E27FC236}">
                  <a16:creationId xmlns:a16="http://schemas.microsoft.com/office/drawing/2014/main" id="{3A4CCB2E-4E25-4D5D-AAED-C61FF261BB26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フリーフォーム: 図形 60">
              <a:extLst>
                <a:ext uri="{FF2B5EF4-FFF2-40B4-BE49-F238E27FC236}">
                  <a16:creationId xmlns:a16="http://schemas.microsoft.com/office/drawing/2014/main" id="{58B203A2-9A59-4577-8143-F61E33498542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フリーフォーム: 図形 61">
              <a:extLst>
                <a:ext uri="{FF2B5EF4-FFF2-40B4-BE49-F238E27FC236}">
                  <a16:creationId xmlns:a16="http://schemas.microsoft.com/office/drawing/2014/main" id="{98231145-58E0-4166-BE55-DA2D4729BA78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フリーフォーム: 図形 62">
              <a:extLst>
                <a:ext uri="{FF2B5EF4-FFF2-40B4-BE49-F238E27FC236}">
                  <a16:creationId xmlns:a16="http://schemas.microsoft.com/office/drawing/2014/main" id="{936B75C2-559E-49EE-950C-A79894A7B4BC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フリーフォーム: 図形 63">
              <a:extLst>
                <a:ext uri="{FF2B5EF4-FFF2-40B4-BE49-F238E27FC236}">
                  <a16:creationId xmlns:a16="http://schemas.microsoft.com/office/drawing/2014/main" id="{16CC7164-83AE-48DF-92A4-71CC40E19651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フリーフォーム: 図形 64">
              <a:extLst>
                <a:ext uri="{FF2B5EF4-FFF2-40B4-BE49-F238E27FC236}">
                  <a16:creationId xmlns:a16="http://schemas.microsoft.com/office/drawing/2014/main" id="{5FD4AD45-5151-4F72-ACC1-6043B56F992A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フリーフォーム: 図形 65">
              <a:extLst>
                <a:ext uri="{FF2B5EF4-FFF2-40B4-BE49-F238E27FC236}">
                  <a16:creationId xmlns:a16="http://schemas.microsoft.com/office/drawing/2014/main" id="{71105759-43B5-46C4-847E-FABFAC6540BE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フリーフォーム: 図形 66">
              <a:extLst>
                <a:ext uri="{FF2B5EF4-FFF2-40B4-BE49-F238E27FC236}">
                  <a16:creationId xmlns:a16="http://schemas.microsoft.com/office/drawing/2014/main" id="{EEE0AF0B-A59F-4662-A464-3825CD076D45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フリーフォーム: 図形 67">
              <a:extLst>
                <a:ext uri="{FF2B5EF4-FFF2-40B4-BE49-F238E27FC236}">
                  <a16:creationId xmlns:a16="http://schemas.microsoft.com/office/drawing/2014/main" id="{3C9226BE-D0A8-4468-9893-AF0A5EF19126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フリーフォーム: 図形 68">
              <a:extLst>
                <a:ext uri="{FF2B5EF4-FFF2-40B4-BE49-F238E27FC236}">
                  <a16:creationId xmlns:a16="http://schemas.microsoft.com/office/drawing/2014/main" id="{C7B4B68B-E6D9-44BF-9547-7377AB6AF187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フリーフォーム: 図形 69">
              <a:extLst>
                <a:ext uri="{FF2B5EF4-FFF2-40B4-BE49-F238E27FC236}">
                  <a16:creationId xmlns:a16="http://schemas.microsoft.com/office/drawing/2014/main" id="{2ADC8B3E-716B-44C3-B712-2EB201BD8749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フリーフォーム: 図形 70">
              <a:extLst>
                <a:ext uri="{FF2B5EF4-FFF2-40B4-BE49-F238E27FC236}">
                  <a16:creationId xmlns:a16="http://schemas.microsoft.com/office/drawing/2014/main" id="{F04A7609-D9F2-4FAA-AE48-9463D406CF01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フリーフォーム: 図形 71">
              <a:extLst>
                <a:ext uri="{FF2B5EF4-FFF2-40B4-BE49-F238E27FC236}">
                  <a16:creationId xmlns:a16="http://schemas.microsoft.com/office/drawing/2014/main" id="{982722F5-BB5C-4A84-B2EF-EBAB87F8C4C1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フリーフォーム: 図形 72">
              <a:extLst>
                <a:ext uri="{FF2B5EF4-FFF2-40B4-BE49-F238E27FC236}">
                  <a16:creationId xmlns:a16="http://schemas.microsoft.com/office/drawing/2014/main" id="{146B1330-EF3C-45D6-A148-2EE371A7FB22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フリーフォーム: 図形 73">
              <a:extLst>
                <a:ext uri="{FF2B5EF4-FFF2-40B4-BE49-F238E27FC236}">
                  <a16:creationId xmlns:a16="http://schemas.microsoft.com/office/drawing/2014/main" id="{ACCB43F3-AAC3-4083-AF6B-C1DC7544F8EF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フリーフォーム: 図形 74">
              <a:extLst>
                <a:ext uri="{FF2B5EF4-FFF2-40B4-BE49-F238E27FC236}">
                  <a16:creationId xmlns:a16="http://schemas.microsoft.com/office/drawing/2014/main" id="{8A9CD1F1-D206-415D-B1C5-6E25FB5D2D41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TextBox 38">
            <a:extLst>
              <a:ext uri="{FF2B5EF4-FFF2-40B4-BE49-F238E27FC236}">
                <a16:creationId xmlns:a16="http://schemas.microsoft.com/office/drawing/2014/main" id="{A5420C00-2325-4861-A316-ACF01226B0F9}"/>
              </a:ext>
            </a:extLst>
          </p:cNvPr>
          <p:cNvSpPr txBox="1"/>
          <p:nvPr/>
        </p:nvSpPr>
        <p:spPr>
          <a:xfrm>
            <a:off x="688076" y="578563"/>
            <a:ext cx="12527591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altLang="ja-JP" sz="28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anage                                                                     with </a:t>
            </a:r>
            <a:r>
              <a:rPr kumimoji="0" lang="en-US" altLang="ja-JP" sz="2800" b="1" dirty="0" err="1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nMas</a:t>
            </a:r>
            <a:r>
              <a:rPr kumimoji="0" lang="en-US" altLang="ja-JP" sz="28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server</a:t>
            </a:r>
            <a:endParaRPr kumimoji="0" lang="ja-JP" altLang="en-US" sz="2800" b="1" dirty="0">
              <a:solidFill>
                <a:srgbClr val="445469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角丸四角形 34">
            <a:extLst>
              <a:ext uri="{FF2B5EF4-FFF2-40B4-BE49-F238E27FC236}">
                <a16:creationId xmlns:a16="http://schemas.microsoft.com/office/drawing/2014/main" id="{BE108E40-42B2-4CD2-A3FD-0690361F9F82}"/>
              </a:ext>
            </a:extLst>
          </p:cNvPr>
          <p:cNvSpPr/>
          <p:nvPr/>
        </p:nvSpPr>
        <p:spPr>
          <a:xfrm>
            <a:off x="4338430" y="3882520"/>
            <a:ext cx="1197653" cy="417810"/>
          </a:xfrm>
          <a:prstGeom prst="roundRect">
            <a:avLst>
              <a:gd name="adj" fmla="val 7205"/>
            </a:avLst>
          </a:prstGeom>
          <a:noFill/>
          <a:ln w="25400" cap="flat" cmpd="sng" algn="ctr">
            <a:solidFill>
              <a:srgbClr val="7BCF27"/>
            </a:solidFill>
            <a:prstDash val="sysDash"/>
          </a:ln>
          <a:effectLst>
            <a:glow rad="101600">
              <a:srgbClr val="FFFF99">
                <a:alpha val="6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4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pic>
        <p:nvPicPr>
          <p:cNvPr id="86" name="図 85">
            <a:extLst>
              <a:ext uri="{FF2B5EF4-FFF2-40B4-BE49-F238E27FC236}">
                <a16:creationId xmlns:a16="http://schemas.microsoft.com/office/drawing/2014/main" id="{C2B8F139-57A0-4973-A0A6-528F73C07A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7810" y="4114415"/>
            <a:ext cx="3012080" cy="2097544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88" name="Picture 6" descr="X:\ConMas開発\i-Reporter 開発\i-Reporter 業務フロー\PDFファイル.png">
            <a:extLst>
              <a:ext uri="{FF2B5EF4-FFF2-40B4-BE49-F238E27FC236}">
                <a16:creationId xmlns:a16="http://schemas.microsoft.com/office/drawing/2014/main" id="{56906162-0666-4D1D-AE93-39DFFE11BF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359" y="3882520"/>
            <a:ext cx="732626" cy="669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矢印: 左 89">
            <a:extLst>
              <a:ext uri="{FF2B5EF4-FFF2-40B4-BE49-F238E27FC236}">
                <a16:creationId xmlns:a16="http://schemas.microsoft.com/office/drawing/2014/main" id="{455A5268-21BB-45C7-BCA9-77D884B30634}"/>
              </a:ext>
            </a:extLst>
          </p:cNvPr>
          <p:cNvSpPr/>
          <p:nvPr/>
        </p:nvSpPr>
        <p:spPr>
          <a:xfrm rot="10800000">
            <a:off x="5750991" y="3955973"/>
            <a:ext cx="901534" cy="344357"/>
          </a:xfrm>
          <a:prstGeom prst="leftArrow">
            <a:avLst/>
          </a:prstGeom>
          <a:solidFill>
            <a:srgbClr val="00B0F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8172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951C43FF-BF5C-4083-BC5B-F3CBB41B7F61}"/>
              </a:ext>
            </a:extLst>
          </p:cNvPr>
          <p:cNvSpPr/>
          <p:nvPr/>
        </p:nvSpPr>
        <p:spPr>
          <a:xfrm>
            <a:off x="7398344" y="6478666"/>
            <a:ext cx="4652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400" b="1" dirty="0"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Non-standard document = </a:t>
            </a:r>
            <a:r>
              <a:rPr lang="en-US" altLang="ja-JP" sz="1400" dirty="0" err="1">
                <a:solidFill>
                  <a:srgbClr val="3399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1400" dirty="0">
                <a:solidFill>
                  <a:srgbClr val="3399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 </a:t>
            </a:r>
            <a:r>
              <a:rPr lang="en-US" altLang="ja-JP" sz="1400" dirty="0" err="1">
                <a:solidFill>
                  <a:srgbClr val="3399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FreeDraw</a:t>
            </a:r>
            <a:r>
              <a:rPr lang="en-US" altLang="ja-JP" sz="1400" dirty="0">
                <a:solidFill>
                  <a:srgbClr val="3399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document</a:t>
            </a:r>
            <a:endParaRPr lang="ja-JP" altLang="en-US" sz="1400" dirty="0">
              <a:solidFill>
                <a:srgbClr val="3399FF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7042D301-C715-4973-BF36-772D3CC11460}"/>
              </a:ext>
            </a:extLst>
          </p:cNvPr>
          <p:cNvSpPr/>
          <p:nvPr/>
        </p:nvSpPr>
        <p:spPr>
          <a:xfrm>
            <a:off x="350562" y="6517760"/>
            <a:ext cx="42771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400" b="1" dirty="0"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tandard form document = </a:t>
            </a:r>
            <a:r>
              <a:rPr lang="en-US" altLang="ja-JP" sz="1400" b="1" dirty="0" err="1"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lang="en-US" altLang="ja-JP" sz="1400" b="1" dirty="0"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document</a:t>
            </a:r>
            <a:endParaRPr lang="ja-JP" altLang="en-US" sz="1400" b="1" dirty="0"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7" name="TextBox 10">
            <a:extLst>
              <a:ext uri="{FF2B5EF4-FFF2-40B4-BE49-F238E27FC236}">
                <a16:creationId xmlns:a16="http://schemas.microsoft.com/office/drawing/2014/main" id="{5BEB0BE3-C935-420F-8015-2FA2E38C9FF1}"/>
              </a:ext>
            </a:extLst>
          </p:cNvPr>
          <p:cNvSpPr txBox="1"/>
          <p:nvPr/>
        </p:nvSpPr>
        <p:spPr>
          <a:xfrm>
            <a:off x="804885" y="145704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2">
            <a:extLst>
              <a:ext uri="{FF2B5EF4-FFF2-40B4-BE49-F238E27FC236}">
                <a16:creationId xmlns:a16="http://schemas.microsoft.com/office/drawing/2014/main" id="{E79C990E-2158-4A5C-A8EC-2173C5E2EF51}"/>
              </a:ext>
            </a:extLst>
          </p:cNvPr>
          <p:cNvSpPr/>
          <p:nvPr/>
        </p:nvSpPr>
        <p:spPr>
          <a:xfrm>
            <a:off x="514330" y="2236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38">
            <a:extLst>
              <a:ext uri="{FF2B5EF4-FFF2-40B4-BE49-F238E27FC236}">
                <a16:creationId xmlns:a16="http://schemas.microsoft.com/office/drawing/2014/main" id="{DC07026B-F0D0-4E6D-8C98-88DA22694DC5}"/>
              </a:ext>
            </a:extLst>
          </p:cNvPr>
          <p:cNvSpPr txBox="1"/>
          <p:nvPr/>
        </p:nvSpPr>
        <p:spPr>
          <a:xfrm>
            <a:off x="8357809" y="462616"/>
            <a:ext cx="538064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4217">
              <a:defRPr/>
            </a:pPr>
            <a:r>
              <a:rPr kumimoji="0" lang="en-US" altLang="ja-JP" sz="2800" b="1" dirty="0">
                <a:solidFill>
                  <a:srgbClr val="445469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ystem configuration</a:t>
            </a:r>
            <a:endParaRPr kumimoji="0" lang="ja-JP" altLang="en-US" sz="2800" b="1" dirty="0">
              <a:solidFill>
                <a:srgbClr val="445469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157" name="グループ化 156">
            <a:extLst>
              <a:ext uri="{FF2B5EF4-FFF2-40B4-BE49-F238E27FC236}">
                <a16:creationId xmlns:a16="http://schemas.microsoft.com/office/drawing/2014/main" id="{42E91191-F4DB-4A54-9995-CA4C39601E8C}"/>
              </a:ext>
            </a:extLst>
          </p:cNvPr>
          <p:cNvGrpSpPr/>
          <p:nvPr/>
        </p:nvGrpSpPr>
        <p:grpSpPr>
          <a:xfrm>
            <a:off x="1025798" y="497074"/>
            <a:ext cx="2632723" cy="629977"/>
            <a:chOff x="6716618" y="1385538"/>
            <a:chExt cx="4956671" cy="1186068"/>
          </a:xfrm>
        </p:grpSpPr>
        <p:grpSp>
          <p:nvGrpSpPr>
            <p:cNvPr id="158" name="グループ化 157">
              <a:extLst>
                <a:ext uri="{FF2B5EF4-FFF2-40B4-BE49-F238E27FC236}">
                  <a16:creationId xmlns:a16="http://schemas.microsoft.com/office/drawing/2014/main" id="{9D7AFDA4-A681-4367-90AC-69550DD0B780}"/>
                </a:ext>
              </a:extLst>
            </p:cNvPr>
            <p:cNvGrpSpPr/>
            <p:nvPr/>
          </p:nvGrpSpPr>
          <p:grpSpPr>
            <a:xfrm>
              <a:off x="8264026" y="1691709"/>
              <a:ext cx="3409263" cy="684056"/>
              <a:chOff x="8264026" y="3142137"/>
              <a:chExt cx="3409263" cy="684056"/>
            </a:xfrm>
          </p:grpSpPr>
          <p:sp>
            <p:nvSpPr>
              <p:cNvPr id="169" name="フリーフォーム: 図形 168">
                <a:extLst>
                  <a:ext uri="{FF2B5EF4-FFF2-40B4-BE49-F238E27FC236}">
                    <a16:creationId xmlns:a16="http://schemas.microsoft.com/office/drawing/2014/main" id="{6D8046BF-183E-4492-8990-83BD687F044D}"/>
                  </a:ext>
                </a:extLst>
              </p:cNvPr>
              <p:cNvSpPr/>
              <p:nvPr/>
            </p:nvSpPr>
            <p:spPr>
              <a:xfrm>
                <a:off x="8264026" y="3142137"/>
                <a:ext cx="126882" cy="554417"/>
              </a:xfrm>
              <a:custGeom>
                <a:avLst/>
                <a:gdLst>
                  <a:gd name="connsiteX0" fmla="*/ 126882 w 126882"/>
                  <a:gd name="connsiteY0" fmla="*/ 60683 h 554417"/>
                  <a:gd name="connsiteX1" fmla="*/ 63441 w 126882"/>
                  <a:gd name="connsiteY1" fmla="*/ 121365 h 554417"/>
                  <a:gd name="connsiteX2" fmla="*/ 0 w 126882"/>
                  <a:gd name="connsiteY2" fmla="*/ 60683 h 554417"/>
                  <a:gd name="connsiteX3" fmla="*/ 63441 w 126882"/>
                  <a:gd name="connsiteY3" fmla="*/ 0 h 554417"/>
                  <a:gd name="connsiteX4" fmla="*/ 126882 w 126882"/>
                  <a:gd name="connsiteY4" fmla="*/ 60683 h 554417"/>
                  <a:gd name="connsiteX5" fmla="*/ 113091 w 126882"/>
                  <a:gd name="connsiteY5" fmla="*/ 554418 h 554417"/>
                  <a:gd name="connsiteX6" fmla="*/ 13792 w 126882"/>
                  <a:gd name="connsiteY6" fmla="*/ 554418 h 554417"/>
                  <a:gd name="connsiteX7" fmla="*/ 13792 w 126882"/>
                  <a:gd name="connsiteY7" fmla="*/ 193081 h 554417"/>
                  <a:gd name="connsiteX8" fmla="*/ 113091 w 126882"/>
                  <a:gd name="connsiteY8" fmla="*/ 193081 h 554417"/>
                  <a:gd name="connsiteX9" fmla="*/ 113091 w 126882"/>
                  <a:gd name="connsiteY9" fmla="*/ 554418 h 554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882" h="554417">
                    <a:moveTo>
                      <a:pt x="126882" y="60683"/>
                    </a:moveTo>
                    <a:cubicBezTo>
                      <a:pt x="126882" y="93782"/>
                      <a:pt x="99299" y="121365"/>
                      <a:pt x="63441" y="121365"/>
                    </a:cubicBezTo>
                    <a:cubicBezTo>
                      <a:pt x="27583" y="121365"/>
                      <a:pt x="0" y="93782"/>
                      <a:pt x="0" y="60683"/>
                    </a:cubicBezTo>
                    <a:cubicBezTo>
                      <a:pt x="0" y="24825"/>
                      <a:pt x="27583" y="0"/>
                      <a:pt x="63441" y="0"/>
                    </a:cubicBezTo>
                    <a:cubicBezTo>
                      <a:pt x="99299" y="0"/>
                      <a:pt x="126882" y="24825"/>
                      <a:pt x="126882" y="60683"/>
                    </a:cubicBezTo>
                    <a:moveTo>
                      <a:pt x="113091" y="554418"/>
                    </a:moveTo>
                    <a:lnTo>
                      <a:pt x="13792" y="554418"/>
                    </a:lnTo>
                    <a:lnTo>
                      <a:pt x="13792" y="193081"/>
                    </a:lnTo>
                    <a:lnTo>
                      <a:pt x="113091" y="193081"/>
                    </a:lnTo>
                    <a:lnTo>
                      <a:pt x="113091" y="554418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0" name="フリーフォーム: 図形 169">
                <a:extLst>
                  <a:ext uri="{FF2B5EF4-FFF2-40B4-BE49-F238E27FC236}">
                    <a16:creationId xmlns:a16="http://schemas.microsoft.com/office/drawing/2014/main" id="{A362C46B-6D5F-4256-9D75-30E033275F94}"/>
                  </a:ext>
                </a:extLst>
              </p:cNvPr>
              <p:cNvSpPr/>
              <p:nvPr/>
            </p:nvSpPr>
            <p:spPr>
              <a:xfrm>
                <a:off x="8454349" y="3420725"/>
                <a:ext cx="184806" cy="82748"/>
              </a:xfrm>
              <a:custGeom>
                <a:avLst/>
                <a:gdLst>
                  <a:gd name="connsiteX0" fmla="*/ 0 w 184806"/>
                  <a:gd name="connsiteY0" fmla="*/ 0 h 82748"/>
                  <a:gd name="connsiteX1" fmla="*/ 184807 w 184806"/>
                  <a:gd name="connsiteY1" fmla="*/ 0 h 82748"/>
                  <a:gd name="connsiteX2" fmla="*/ 184807 w 184806"/>
                  <a:gd name="connsiteY2" fmla="*/ 82749 h 82748"/>
                  <a:gd name="connsiteX3" fmla="*/ 0 w 184806"/>
                  <a:gd name="connsiteY3" fmla="*/ 82749 h 8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806" h="82748">
                    <a:moveTo>
                      <a:pt x="0" y="0"/>
                    </a:moveTo>
                    <a:lnTo>
                      <a:pt x="184807" y="0"/>
                    </a:lnTo>
                    <a:lnTo>
                      <a:pt x="184807" y="82749"/>
                    </a:lnTo>
                    <a:lnTo>
                      <a:pt x="0" y="82749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フリーフォーム: 図形 170">
                <a:extLst>
                  <a:ext uri="{FF2B5EF4-FFF2-40B4-BE49-F238E27FC236}">
                    <a16:creationId xmlns:a16="http://schemas.microsoft.com/office/drawing/2014/main" id="{07C770A0-AFEB-4987-9765-D655551AF9C2}"/>
                  </a:ext>
                </a:extLst>
              </p:cNvPr>
              <p:cNvSpPr/>
              <p:nvPr/>
            </p:nvSpPr>
            <p:spPr>
              <a:xfrm>
                <a:off x="8727421" y="3213852"/>
                <a:ext cx="405470" cy="482702"/>
              </a:xfrm>
              <a:custGeom>
                <a:avLst/>
                <a:gdLst>
                  <a:gd name="connsiteX0" fmla="*/ 295139 w 405470"/>
                  <a:gd name="connsiteY0" fmla="*/ 482702 h 482702"/>
                  <a:gd name="connsiteX1" fmla="*/ 171015 w 405470"/>
                  <a:gd name="connsiteY1" fmla="*/ 311688 h 482702"/>
                  <a:gd name="connsiteX2" fmla="*/ 99299 w 405470"/>
                  <a:gd name="connsiteY2" fmla="*/ 311688 h 482702"/>
                  <a:gd name="connsiteX3" fmla="*/ 99299 w 405470"/>
                  <a:gd name="connsiteY3" fmla="*/ 482702 h 482702"/>
                  <a:gd name="connsiteX4" fmla="*/ 0 w 405470"/>
                  <a:gd name="connsiteY4" fmla="*/ 482702 h 482702"/>
                  <a:gd name="connsiteX5" fmla="*/ 0 w 405470"/>
                  <a:gd name="connsiteY5" fmla="*/ 0 h 482702"/>
                  <a:gd name="connsiteX6" fmla="*/ 182048 w 405470"/>
                  <a:gd name="connsiteY6" fmla="*/ 0 h 482702"/>
                  <a:gd name="connsiteX7" fmla="*/ 355821 w 405470"/>
                  <a:gd name="connsiteY7" fmla="*/ 154465 h 482702"/>
                  <a:gd name="connsiteX8" fmla="*/ 270314 w 405470"/>
                  <a:gd name="connsiteY8" fmla="*/ 289621 h 482702"/>
                  <a:gd name="connsiteX9" fmla="*/ 405471 w 405470"/>
                  <a:gd name="connsiteY9" fmla="*/ 479944 h 482702"/>
                  <a:gd name="connsiteX10" fmla="*/ 295139 w 405470"/>
                  <a:gd name="connsiteY10" fmla="*/ 479944 h 482702"/>
                  <a:gd name="connsiteX11" fmla="*/ 99299 w 405470"/>
                  <a:gd name="connsiteY11" fmla="*/ 226180 h 482702"/>
                  <a:gd name="connsiteX12" fmla="*/ 182048 w 405470"/>
                  <a:gd name="connsiteY12" fmla="*/ 226180 h 482702"/>
                  <a:gd name="connsiteX13" fmla="*/ 253764 w 405470"/>
                  <a:gd name="connsiteY13" fmla="*/ 157223 h 482702"/>
                  <a:gd name="connsiteX14" fmla="*/ 182048 w 405470"/>
                  <a:gd name="connsiteY14" fmla="*/ 88266 h 482702"/>
                  <a:gd name="connsiteX15" fmla="*/ 99299 w 405470"/>
                  <a:gd name="connsiteY15" fmla="*/ 88266 h 482702"/>
                  <a:gd name="connsiteX16" fmla="*/ 99299 w 405470"/>
                  <a:gd name="connsiteY16" fmla="*/ 226180 h 48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5470" h="482702">
                    <a:moveTo>
                      <a:pt x="295139" y="482702"/>
                    </a:moveTo>
                    <a:lnTo>
                      <a:pt x="171015" y="311688"/>
                    </a:lnTo>
                    <a:lnTo>
                      <a:pt x="99299" y="311688"/>
                    </a:lnTo>
                    <a:lnTo>
                      <a:pt x="99299" y="482702"/>
                    </a:lnTo>
                    <a:lnTo>
                      <a:pt x="0" y="482702"/>
                    </a:lnTo>
                    <a:lnTo>
                      <a:pt x="0" y="0"/>
                    </a:lnTo>
                    <a:lnTo>
                      <a:pt x="182048" y="0"/>
                    </a:lnTo>
                    <a:cubicBezTo>
                      <a:pt x="284106" y="0"/>
                      <a:pt x="355821" y="60683"/>
                      <a:pt x="355821" y="154465"/>
                    </a:cubicBezTo>
                    <a:cubicBezTo>
                      <a:pt x="355821" y="215147"/>
                      <a:pt x="322722" y="264797"/>
                      <a:pt x="270314" y="289621"/>
                    </a:cubicBezTo>
                    <a:lnTo>
                      <a:pt x="405471" y="479944"/>
                    </a:lnTo>
                    <a:lnTo>
                      <a:pt x="295139" y="479944"/>
                    </a:lnTo>
                    <a:close/>
                    <a:moveTo>
                      <a:pt x="99299" y="226180"/>
                    </a:moveTo>
                    <a:lnTo>
                      <a:pt x="182048" y="226180"/>
                    </a:lnTo>
                    <a:cubicBezTo>
                      <a:pt x="228940" y="226180"/>
                      <a:pt x="253764" y="198597"/>
                      <a:pt x="253764" y="157223"/>
                    </a:cubicBezTo>
                    <a:cubicBezTo>
                      <a:pt x="253764" y="115849"/>
                      <a:pt x="226181" y="88266"/>
                      <a:pt x="182048" y="88266"/>
                    </a:cubicBezTo>
                    <a:lnTo>
                      <a:pt x="99299" y="88266"/>
                    </a:lnTo>
                    <a:lnTo>
                      <a:pt x="99299" y="226180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2" name="フリーフォーム: 図形 171">
                <a:extLst>
                  <a:ext uri="{FF2B5EF4-FFF2-40B4-BE49-F238E27FC236}">
                    <a16:creationId xmlns:a16="http://schemas.microsoft.com/office/drawing/2014/main" id="{CD27A5A9-8238-4649-BCC3-9CD7005A3258}"/>
                  </a:ext>
                </a:extLst>
              </p:cNvPr>
              <p:cNvSpPr/>
              <p:nvPr/>
            </p:nvSpPr>
            <p:spPr>
              <a:xfrm>
                <a:off x="9146684" y="3324184"/>
                <a:ext cx="361337" cy="380645"/>
              </a:xfrm>
              <a:custGeom>
                <a:avLst/>
                <a:gdLst>
                  <a:gd name="connsiteX0" fmla="*/ 353063 w 361337"/>
                  <a:gd name="connsiteY0" fmla="*/ 223422 h 380645"/>
                  <a:gd name="connsiteX1" fmla="*/ 99299 w 361337"/>
                  <a:gd name="connsiteY1" fmla="*/ 223422 h 380645"/>
                  <a:gd name="connsiteX2" fmla="*/ 201356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8 w 361337"/>
                  <a:gd name="connsiteY8" fmla="*/ 168256 h 380645"/>
                  <a:gd name="connsiteX9" fmla="*/ 353063 w 361337"/>
                  <a:gd name="connsiteY9" fmla="*/ 223422 h 380645"/>
                  <a:gd name="connsiteX10" fmla="*/ 99299 w 361337"/>
                  <a:gd name="connsiteY10" fmla="*/ 154465 h 380645"/>
                  <a:gd name="connsiteX11" fmla="*/ 264797 w 361337"/>
                  <a:gd name="connsiteY11" fmla="*/ 154465 h 380645"/>
                  <a:gd name="connsiteX12" fmla="*/ 187564 w 361337"/>
                  <a:gd name="connsiteY12" fmla="*/ 82749 h 380645"/>
                  <a:gd name="connsiteX13" fmla="*/ 99299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3063" y="223422"/>
                    </a:moveTo>
                    <a:lnTo>
                      <a:pt x="99299" y="223422"/>
                    </a:lnTo>
                    <a:cubicBezTo>
                      <a:pt x="110332" y="270313"/>
                      <a:pt x="148948" y="295138"/>
                      <a:pt x="201356" y="295138"/>
                    </a:cubicBezTo>
                    <a:cubicBezTo>
                      <a:pt x="239972" y="295138"/>
                      <a:pt x="273072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8" y="74474"/>
                      <a:pt x="361338" y="168256"/>
                    </a:cubicBezTo>
                    <a:cubicBezTo>
                      <a:pt x="361338" y="190323"/>
                      <a:pt x="358579" y="212389"/>
                      <a:pt x="353063" y="223422"/>
                    </a:cubicBezTo>
                    <a:moveTo>
                      <a:pt x="99299" y="154465"/>
                    </a:moveTo>
                    <a:lnTo>
                      <a:pt x="264797" y="154465"/>
                    </a:lnTo>
                    <a:cubicBezTo>
                      <a:pt x="264797" y="107574"/>
                      <a:pt x="228939" y="82749"/>
                      <a:pt x="187564" y="82749"/>
                    </a:cubicBezTo>
                    <a:cubicBezTo>
                      <a:pt x="146190" y="82749"/>
                      <a:pt x="113091" y="110332"/>
                      <a:pt x="99299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3" name="フリーフォーム: 図形 172">
                <a:extLst>
                  <a:ext uri="{FF2B5EF4-FFF2-40B4-BE49-F238E27FC236}">
                    <a16:creationId xmlns:a16="http://schemas.microsoft.com/office/drawing/2014/main" id="{BCC5C14F-9B3E-4DB3-8986-B8BF3715E744}"/>
                  </a:ext>
                </a:extLst>
              </p:cNvPr>
              <p:cNvSpPr/>
              <p:nvPr/>
            </p:nvSpPr>
            <p:spPr>
              <a:xfrm>
                <a:off x="9576979" y="3326942"/>
                <a:ext cx="383404" cy="499251"/>
              </a:xfrm>
              <a:custGeom>
                <a:avLst/>
                <a:gdLst>
                  <a:gd name="connsiteX0" fmla="*/ 383404 w 383404"/>
                  <a:gd name="connsiteY0" fmla="*/ 187564 h 499251"/>
                  <a:gd name="connsiteX1" fmla="*/ 206873 w 383404"/>
                  <a:gd name="connsiteY1" fmla="*/ 377887 h 499251"/>
                  <a:gd name="connsiteX2" fmla="*/ 99298 w 383404"/>
                  <a:gd name="connsiteY2" fmla="*/ 333754 h 499251"/>
                  <a:gd name="connsiteX3" fmla="*/ 99298 w 383404"/>
                  <a:gd name="connsiteY3" fmla="*/ 499252 h 499251"/>
                  <a:gd name="connsiteX4" fmla="*/ 0 w 383404"/>
                  <a:gd name="connsiteY4" fmla="*/ 499252 h 499251"/>
                  <a:gd name="connsiteX5" fmla="*/ 0 w 383404"/>
                  <a:gd name="connsiteY5" fmla="*/ 8275 h 499251"/>
                  <a:gd name="connsiteX6" fmla="*/ 91024 w 383404"/>
                  <a:gd name="connsiteY6" fmla="*/ 8275 h 499251"/>
                  <a:gd name="connsiteX7" fmla="*/ 91024 w 383404"/>
                  <a:gd name="connsiteY7" fmla="*/ 52408 h 499251"/>
                  <a:gd name="connsiteX8" fmla="*/ 206873 w 383404"/>
                  <a:gd name="connsiteY8" fmla="*/ 0 h 499251"/>
                  <a:gd name="connsiteX9" fmla="*/ 383404 w 383404"/>
                  <a:gd name="connsiteY9" fmla="*/ 187564 h 499251"/>
                  <a:gd name="connsiteX10" fmla="*/ 281346 w 383404"/>
                  <a:gd name="connsiteY10" fmla="*/ 187564 h 499251"/>
                  <a:gd name="connsiteX11" fmla="*/ 187564 w 383404"/>
                  <a:gd name="connsiteY11" fmla="*/ 88266 h 499251"/>
                  <a:gd name="connsiteX12" fmla="*/ 96541 w 383404"/>
                  <a:gd name="connsiteY12" fmla="*/ 187564 h 499251"/>
                  <a:gd name="connsiteX13" fmla="*/ 187564 w 383404"/>
                  <a:gd name="connsiteY13" fmla="*/ 286863 h 499251"/>
                  <a:gd name="connsiteX14" fmla="*/ 281346 w 383404"/>
                  <a:gd name="connsiteY14" fmla="*/ 187564 h 4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3404" h="499251">
                    <a:moveTo>
                      <a:pt x="383404" y="187564"/>
                    </a:moveTo>
                    <a:cubicBezTo>
                      <a:pt x="383404" y="295138"/>
                      <a:pt x="311688" y="377887"/>
                      <a:pt x="206873" y="377887"/>
                    </a:cubicBezTo>
                    <a:cubicBezTo>
                      <a:pt x="162740" y="377887"/>
                      <a:pt x="124124" y="361337"/>
                      <a:pt x="99298" y="333754"/>
                    </a:cubicBezTo>
                    <a:lnTo>
                      <a:pt x="99298" y="499252"/>
                    </a:lnTo>
                    <a:lnTo>
                      <a:pt x="0" y="499252"/>
                    </a:lnTo>
                    <a:lnTo>
                      <a:pt x="0" y="8275"/>
                    </a:lnTo>
                    <a:lnTo>
                      <a:pt x="91024" y="8275"/>
                    </a:lnTo>
                    <a:lnTo>
                      <a:pt x="91024" y="52408"/>
                    </a:lnTo>
                    <a:cubicBezTo>
                      <a:pt x="115848" y="19308"/>
                      <a:pt x="157223" y="0"/>
                      <a:pt x="206873" y="0"/>
                    </a:cubicBezTo>
                    <a:cubicBezTo>
                      <a:pt x="308930" y="0"/>
                      <a:pt x="383404" y="79991"/>
                      <a:pt x="383404" y="187564"/>
                    </a:cubicBezTo>
                    <a:moveTo>
                      <a:pt x="281346" y="187564"/>
                    </a:moveTo>
                    <a:cubicBezTo>
                      <a:pt x="281346" y="126882"/>
                      <a:pt x="239972" y="88266"/>
                      <a:pt x="187564" y="88266"/>
                    </a:cubicBezTo>
                    <a:cubicBezTo>
                      <a:pt x="143431" y="88266"/>
                      <a:pt x="96541" y="118607"/>
                      <a:pt x="96541" y="187564"/>
                    </a:cubicBezTo>
                    <a:cubicBezTo>
                      <a:pt x="96541" y="256522"/>
                      <a:pt x="140673" y="286863"/>
                      <a:pt x="187564" y="286863"/>
                    </a:cubicBezTo>
                    <a:cubicBezTo>
                      <a:pt x="239972" y="286863"/>
                      <a:pt x="281346" y="251005"/>
                      <a:pt x="281346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4" name="フリーフォーム: 図形 173">
                <a:extLst>
                  <a:ext uri="{FF2B5EF4-FFF2-40B4-BE49-F238E27FC236}">
                    <a16:creationId xmlns:a16="http://schemas.microsoft.com/office/drawing/2014/main" id="{C746A8C0-FCE1-462D-AB9D-624B6B2494FA}"/>
                  </a:ext>
                </a:extLst>
              </p:cNvPr>
              <p:cNvSpPr/>
              <p:nvPr/>
            </p:nvSpPr>
            <p:spPr>
              <a:xfrm>
                <a:off x="10007274" y="3326942"/>
                <a:ext cx="388920" cy="377886"/>
              </a:xfrm>
              <a:custGeom>
                <a:avLst/>
                <a:gdLst>
                  <a:gd name="connsiteX0" fmla="*/ 388921 w 388920"/>
                  <a:gd name="connsiteY0" fmla="*/ 187564 h 377886"/>
                  <a:gd name="connsiteX1" fmla="*/ 193081 w 388920"/>
                  <a:gd name="connsiteY1" fmla="*/ 377887 h 377886"/>
                  <a:gd name="connsiteX2" fmla="*/ 0 w 388920"/>
                  <a:gd name="connsiteY2" fmla="*/ 187564 h 377886"/>
                  <a:gd name="connsiteX3" fmla="*/ 193081 w 388920"/>
                  <a:gd name="connsiteY3" fmla="*/ 0 h 377886"/>
                  <a:gd name="connsiteX4" fmla="*/ 388921 w 388920"/>
                  <a:gd name="connsiteY4" fmla="*/ 187564 h 377886"/>
                  <a:gd name="connsiteX5" fmla="*/ 99299 w 388920"/>
                  <a:gd name="connsiteY5" fmla="*/ 187564 h 377886"/>
                  <a:gd name="connsiteX6" fmla="*/ 193081 w 388920"/>
                  <a:gd name="connsiteY6" fmla="*/ 284105 h 377886"/>
                  <a:gd name="connsiteX7" fmla="*/ 286864 w 388920"/>
                  <a:gd name="connsiteY7" fmla="*/ 187564 h 377886"/>
                  <a:gd name="connsiteX8" fmla="*/ 193081 w 388920"/>
                  <a:gd name="connsiteY8" fmla="*/ 88266 h 377886"/>
                  <a:gd name="connsiteX9" fmla="*/ 99299 w 388920"/>
                  <a:gd name="connsiteY9" fmla="*/ 187564 h 37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920" h="377886">
                    <a:moveTo>
                      <a:pt x="388921" y="187564"/>
                    </a:moveTo>
                    <a:cubicBezTo>
                      <a:pt x="388921" y="295138"/>
                      <a:pt x="300656" y="377887"/>
                      <a:pt x="193081" y="377887"/>
                    </a:cubicBezTo>
                    <a:cubicBezTo>
                      <a:pt x="85508" y="377887"/>
                      <a:pt x="0" y="295138"/>
                      <a:pt x="0" y="187564"/>
                    </a:cubicBezTo>
                    <a:cubicBezTo>
                      <a:pt x="0" y="79991"/>
                      <a:pt x="85508" y="0"/>
                      <a:pt x="193081" y="0"/>
                    </a:cubicBezTo>
                    <a:cubicBezTo>
                      <a:pt x="300656" y="0"/>
                      <a:pt x="388921" y="79991"/>
                      <a:pt x="388921" y="187564"/>
                    </a:cubicBezTo>
                    <a:moveTo>
                      <a:pt x="99299" y="187564"/>
                    </a:moveTo>
                    <a:cubicBezTo>
                      <a:pt x="99299" y="245489"/>
                      <a:pt x="137915" y="284105"/>
                      <a:pt x="193081" y="284105"/>
                    </a:cubicBezTo>
                    <a:cubicBezTo>
                      <a:pt x="245490" y="284105"/>
                      <a:pt x="286864" y="242730"/>
                      <a:pt x="286864" y="187564"/>
                    </a:cubicBezTo>
                    <a:cubicBezTo>
                      <a:pt x="286864" y="129640"/>
                      <a:pt x="245490" y="88266"/>
                      <a:pt x="193081" y="88266"/>
                    </a:cubicBezTo>
                    <a:cubicBezTo>
                      <a:pt x="137915" y="88266"/>
                      <a:pt x="99299" y="132398"/>
                      <a:pt x="99299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5" name="フリーフォーム: 図形 174">
                <a:extLst>
                  <a:ext uri="{FF2B5EF4-FFF2-40B4-BE49-F238E27FC236}">
                    <a16:creationId xmlns:a16="http://schemas.microsoft.com/office/drawing/2014/main" id="{058D30D4-0134-4404-B29D-080F1A8950E9}"/>
                  </a:ext>
                </a:extLst>
              </p:cNvPr>
              <p:cNvSpPr/>
              <p:nvPr/>
            </p:nvSpPr>
            <p:spPr>
              <a:xfrm>
                <a:off x="10445845" y="3331317"/>
                <a:ext cx="223421" cy="362479"/>
              </a:xfrm>
              <a:custGeom>
                <a:avLst/>
                <a:gdLst>
                  <a:gd name="connsiteX0" fmla="*/ 223422 w 223421"/>
                  <a:gd name="connsiteY0" fmla="*/ 3901 h 362479"/>
                  <a:gd name="connsiteX1" fmla="*/ 223422 w 223421"/>
                  <a:gd name="connsiteY1" fmla="*/ 89408 h 362479"/>
                  <a:gd name="connsiteX2" fmla="*/ 195839 w 223421"/>
                  <a:gd name="connsiteY2" fmla="*/ 89408 h 362479"/>
                  <a:gd name="connsiteX3" fmla="*/ 99298 w 223421"/>
                  <a:gd name="connsiteY3" fmla="*/ 183190 h 362479"/>
                  <a:gd name="connsiteX4" fmla="*/ 99298 w 223421"/>
                  <a:gd name="connsiteY4" fmla="*/ 362480 h 362479"/>
                  <a:gd name="connsiteX5" fmla="*/ 0 w 223421"/>
                  <a:gd name="connsiteY5" fmla="*/ 362480 h 362479"/>
                  <a:gd name="connsiteX6" fmla="*/ 0 w 223421"/>
                  <a:gd name="connsiteY6" fmla="*/ 3901 h 362479"/>
                  <a:gd name="connsiteX7" fmla="*/ 91024 w 223421"/>
                  <a:gd name="connsiteY7" fmla="*/ 3901 h 362479"/>
                  <a:gd name="connsiteX8" fmla="*/ 91024 w 223421"/>
                  <a:gd name="connsiteY8" fmla="*/ 48034 h 362479"/>
                  <a:gd name="connsiteX9" fmla="*/ 190323 w 223421"/>
                  <a:gd name="connsiteY9" fmla="*/ 1143 h 362479"/>
                  <a:gd name="connsiteX10" fmla="*/ 223422 w 223421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1" h="362479">
                    <a:moveTo>
                      <a:pt x="223422" y="3901"/>
                    </a:moveTo>
                    <a:lnTo>
                      <a:pt x="223422" y="89408"/>
                    </a:lnTo>
                    <a:lnTo>
                      <a:pt x="195839" y="89408"/>
                    </a:lnTo>
                    <a:cubicBezTo>
                      <a:pt x="137915" y="89408"/>
                      <a:pt x="99298" y="119749"/>
                      <a:pt x="99298" y="183190"/>
                    </a:cubicBezTo>
                    <a:lnTo>
                      <a:pt x="99298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6873" y="-1616"/>
                      <a:pt x="215147" y="1143"/>
                      <a:pt x="223422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6" name="フリーフォーム: 図形 175">
                <a:extLst>
                  <a:ext uri="{FF2B5EF4-FFF2-40B4-BE49-F238E27FC236}">
                    <a16:creationId xmlns:a16="http://schemas.microsoft.com/office/drawing/2014/main" id="{A0B1849D-899A-4F5B-9BFD-BB4F3F9CDED7}"/>
                  </a:ext>
                </a:extLst>
              </p:cNvPr>
              <p:cNvSpPr/>
              <p:nvPr/>
            </p:nvSpPr>
            <p:spPr>
              <a:xfrm>
                <a:off x="10716158" y="3244194"/>
                <a:ext cx="267555" cy="460635"/>
              </a:xfrm>
              <a:custGeom>
                <a:avLst/>
                <a:gdLst>
                  <a:gd name="connsiteX0" fmla="*/ 267556 w 267555"/>
                  <a:gd name="connsiteY0" fmla="*/ 369612 h 460635"/>
                  <a:gd name="connsiteX1" fmla="*/ 267556 w 267555"/>
                  <a:gd name="connsiteY1" fmla="*/ 452361 h 460635"/>
                  <a:gd name="connsiteX2" fmla="*/ 198598 w 267555"/>
                  <a:gd name="connsiteY2" fmla="*/ 460636 h 460635"/>
                  <a:gd name="connsiteX3" fmla="*/ 55166 w 267555"/>
                  <a:gd name="connsiteY3" fmla="*/ 325479 h 460635"/>
                  <a:gd name="connsiteX4" fmla="*/ 55166 w 267555"/>
                  <a:gd name="connsiteY4" fmla="*/ 173773 h 460635"/>
                  <a:gd name="connsiteX5" fmla="*/ 0 w 267555"/>
                  <a:gd name="connsiteY5" fmla="*/ 173773 h 460635"/>
                  <a:gd name="connsiteX6" fmla="*/ 0 w 267555"/>
                  <a:gd name="connsiteY6" fmla="*/ 91024 h 460635"/>
                  <a:gd name="connsiteX7" fmla="*/ 57925 w 267555"/>
                  <a:gd name="connsiteY7" fmla="*/ 91024 h 460635"/>
                  <a:gd name="connsiteX8" fmla="*/ 57925 w 267555"/>
                  <a:gd name="connsiteY8" fmla="*/ 0 h 460635"/>
                  <a:gd name="connsiteX9" fmla="*/ 157224 w 267555"/>
                  <a:gd name="connsiteY9" fmla="*/ 0 h 460635"/>
                  <a:gd name="connsiteX10" fmla="*/ 157224 w 267555"/>
                  <a:gd name="connsiteY10" fmla="*/ 91024 h 460635"/>
                  <a:gd name="connsiteX11" fmla="*/ 259280 w 267555"/>
                  <a:gd name="connsiteY11" fmla="*/ 91024 h 460635"/>
                  <a:gd name="connsiteX12" fmla="*/ 259280 w 267555"/>
                  <a:gd name="connsiteY12" fmla="*/ 173773 h 460635"/>
                  <a:gd name="connsiteX13" fmla="*/ 157224 w 267555"/>
                  <a:gd name="connsiteY13" fmla="*/ 173773 h 460635"/>
                  <a:gd name="connsiteX14" fmla="*/ 157224 w 267555"/>
                  <a:gd name="connsiteY14" fmla="*/ 317204 h 460635"/>
                  <a:gd name="connsiteX15" fmla="*/ 223423 w 267555"/>
                  <a:gd name="connsiteY15" fmla="*/ 372370 h 460635"/>
                  <a:gd name="connsiteX16" fmla="*/ 267556 w 267555"/>
                  <a:gd name="connsiteY16" fmla="*/ 369612 h 460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555" h="460635">
                    <a:moveTo>
                      <a:pt x="267556" y="369612"/>
                    </a:moveTo>
                    <a:lnTo>
                      <a:pt x="267556" y="452361"/>
                    </a:lnTo>
                    <a:cubicBezTo>
                      <a:pt x="248247" y="457877"/>
                      <a:pt x="226181" y="460636"/>
                      <a:pt x="198598" y="460636"/>
                    </a:cubicBezTo>
                    <a:cubicBezTo>
                      <a:pt x="110332" y="460636"/>
                      <a:pt x="55166" y="416503"/>
                      <a:pt x="55166" y="325479"/>
                    </a:cubicBezTo>
                    <a:lnTo>
                      <a:pt x="55166" y="173773"/>
                    </a:lnTo>
                    <a:lnTo>
                      <a:pt x="0" y="173773"/>
                    </a:lnTo>
                    <a:lnTo>
                      <a:pt x="0" y="91024"/>
                    </a:lnTo>
                    <a:lnTo>
                      <a:pt x="57925" y="91024"/>
                    </a:lnTo>
                    <a:lnTo>
                      <a:pt x="57925" y="0"/>
                    </a:lnTo>
                    <a:lnTo>
                      <a:pt x="157224" y="0"/>
                    </a:lnTo>
                    <a:lnTo>
                      <a:pt x="157224" y="91024"/>
                    </a:lnTo>
                    <a:lnTo>
                      <a:pt x="259280" y="91024"/>
                    </a:lnTo>
                    <a:lnTo>
                      <a:pt x="259280" y="173773"/>
                    </a:lnTo>
                    <a:lnTo>
                      <a:pt x="157224" y="173773"/>
                    </a:lnTo>
                    <a:lnTo>
                      <a:pt x="157224" y="317204"/>
                    </a:lnTo>
                    <a:cubicBezTo>
                      <a:pt x="157224" y="358579"/>
                      <a:pt x="179290" y="372370"/>
                      <a:pt x="223423" y="372370"/>
                    </a:cubicBezTo>
                    <a:cubicBezTo>
                      <a:pt x="234456" y="372370"/>
                      <a:pt x="251006" y="369612"/>
                      <a:pt x="267556" y="369612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7" name="フリーフォーム: 図形 176">
                <a:extLst>
                  <a:ext uri="{FF2B5EF4-FFF2-40B4-BE49-F238E27FC236}">
                    <a16:creationId xmlns:a16="http://schemas.microsoft.com/office/drawing/2014/main" id="{92E81AD7-D1B5-4C88-9F1D-DB6E008801EC}"/>
                  </a:ext>
                </a:extLst>
              </p:cNvPr>
              <p:cNvSpPr/>
              <p:nvPr/>
            </p:nvSpPr>
            <p:spPr>
              <a:xfrm>
                <a:off x="11025089" y="3324184"/>
                <a:ext cx="361337" cy="380645"/>
              </a:xfrm>
              <a:custGeom>
                <a:avLst/>
                <a:gdLst>
                  <a:gd name="connsiteX0" fmla="*/ 350304 w 361337"/>
                  <a:gd name="connsiteY0" fmla="*/ 223422 h 380645"/>
                  <a:gd name="connsiteX1" fmla="*/ 96541 w 361337"/>
                  <a:gd name="connsiteY1" fmla="*/ 223422 h 380645"/>
                  <a:gd name="connsiteX2" fmla="*/ 198597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7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7 w 361337"/>
                  <a:gd name="connsiteY8" fmla="*/ 168256 h 380645"/>
                  <a:gd name="connsiteX9" fmla="*/ 350304 w 361337"/>
                  <a:gd name="connsiteY9" fmla="*/ 223422 h 380645"/>
                  <a:gd name="connsiteX10" fmla="*/ 96541 w 361337"/>
                  <a:gd name="connsiteY10" fmla="*/ 154465 h 380645"/>
                  <a:gd name="connsiteX11" fmla="*/ 262039 w 361337"/>
                  <a:gd name="connsiteY11" fmla="*/ 154465 h 380645"/>
                  <a:gd name="connsiteX12" fmla="*/ 184806 w 361337"/>
                  <a:gd name="connsiteY12" fmla="*/ 82749 h 380645"/>
                  <a:gd name="connsiteX13" fmla="*/ 96541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0304" y="223422"/>
                    </a:moveTo>
                    <a:lnTo>
                      <a:pt x="96541" y="223422"/>
                    </a:lnTo>
                    <a:cubicBezTo>
                      <a:pt x="107574" y="270313"/>
                      <a:pt x="146190" y="295138"/>
                      <a:pt x="198597" y="295138"/>
                    </a:cubicBezTo>
                    <a:cubicBezTo>
                      <a:pt x="237213" y="295138"/>
                      <a:pt x="270313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3" y="380645"/>
                      <a:pt x="198597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7" y="74474"/>
                      <a:pt x="361337" y="168256"/>
                    </a:cubicBezTo>
                    <a:cubicBezTo>
                      <a:pt x="355821" y="190323"/>
                      <a:pt x="353063" y="212389"/>
                      <a:pt x="350304" y="223422"/>
                    </a:cubicBezTo>
                    <a:moveTo>
                      <a:pt x="96541" y="154465"/>
                    </a:moveTo>
                    <a:lnTo>
                      <a:pt x="262039" y="154465"/>
                    </a:lnTo>
                    <a:cubicBezTo>
                      <a:pt x="262039" y="107574"/>
                      <a:pt x="226180" y="82749"/>
                      <a:pt x="184806" y="82749"/>
                    </a:cubicBezTo>
                    <a:cubicBezTo>
                      <a:pt x="140673" y="82749"/>
                      <a:pt x="107574" y="110332"/>
                      <a:pt x="96541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8" name="フリーフォーム: 図形 177">
                <a:extLst>
                  <a:ext uri="{FF2B5EF4-FFF2-40B4-BE49-F238E27FC236}">
                    <a16:creationId xmlns:a16="http://schemas.microsoft.com/office/drawing/2014/main" id="{57DBDF21-9EDA-4A8F-9BD0-76329B797B21}"/>
                  </a:ext>
                </a:extLst>
              </p:cNvPr>
              <p:cNvSpPr/>
              <p:nvPr/>
            </p:nvSpPr>
            <p:spPr>
              <a:xfrm>
                <a:off x="11449867" y="3331317"/>
                <a:ext cx="223422" cy="362479"/>
              </a:xfrm>
              <a:custGeom>
                <a:avLst/>
                <a:gdLst>
                  <a:gd name="connsiteX0" fmla="*/ 223423 w 223422"/>
                  <a:gd name="connsiteY0" fmla="*/ 3901 h 362479"/>
                  <a:gd name="connsiteX1" fmla="*/ 223423 w 223422"/>
                  <a:gd name="connsiteY1" fmla="*/ 89408 h 362479"/>
                  <a:gd name="connsiteX2" fmla="*/ 195840 w 223422"/>
                  <a:gd name="connsiteY2" fmla="*/ 89408 h 362479"/>
                  <a:gd name="connsiteX3" fmla="*/ 99299 w 223422"/>
                  <a:gd name="connsiteY3" fmla="*/ 183190 h 362479"/>
                  <a:gd name="connsiteX4" fmla="*/ 99299 w 223422"/>
                  <a:gd name="connsiteY4" fmla="*/ 362480 h 362479"/>
                  <a:gd name="connsiteX5" fmla="*/ 0 w 223422"/>
                  <a:gd name="connsiteY5" fmla="*/ 362480 h 362479"/>
                  <a:gd name="connsiteX6" fmla="*/ 0 w 223422"/>
                  <a:gd name="connsiteY6" fmla="*/ 3901 h 362479"/>
                  <a:gd name="connsiteX7" fmla="*/ 91024 w 223422"/>
                  <a:gd name="connsiteY7" fmla="*/ 3901 h 362479"/>
                  <a:gd name="connsiteX8" fmla="*/ 91024 w 223422"/>
                  <a:gd name="connsiteY8" fmla="*/ 48034 h 362479"/>
                  <a:gd name="connsiteX9" fmla="*/ 190323 w 223422"/>
                  <a:gd name="connsiteY9" fmla="*/ 1143 h 362479"/>
                  <a:gd name="connsiteX10" fmla="*/ 223423 w 223422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2" h="362479">
                    <a:moveTo>
                      <a:pt x="223423" y="3901"/>
                    </a:moveTo>
                    <a:lnTo>
                      <a:pt x="223423" y="89408"/>
                    </a:lnTo>
                    <a:lnTo>
                      <a:pt x="195840" y="89408"/>
                    </a:lnTo>
                    <a:cubicBezTo>
                      <a:pt x="137915" y="89408"/>
                      <a:pt x="99299" y="119749"/>
                      <a:pt x="99299" y="183190"/>
                    </a:cubicBezTo>
                    <a:lnTo>
                      <a:pt x="99299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8" y="17692"/>
                      <a:pt x="151707" y="1143"/>
                      <a:pt x="190323" y="1143"/>
                    </a:cubicBezTo>
                    <a:cubicBezTo>
                      <a:pt x="204114" y="-1616"/>
                      <a:pt x="212389" y="1143"/>
                      <a:pt x="223423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9" name="グループ化 158">
              <a:extLst>
                <a:ext uri="{FF2B5EF4-FFF2-40B4-BE49-F238E27FC236}">
                  <a16:creationId xmlns:a16="http://schemas.microsoft.com/office/drawing/2014/main" id="{6AB784CF-0AB4-46C9-A935-638FD441C13B}"/>
                </a:ext>
              </a:extLst>
            </p:cNvPr>
            <p:cNvGrpSpPr/>
            <p:nvPr/>
          </p:nvGrpSpPr>
          <p:grpSpPr>
            <a:xfrm>
              <a:off x="6716618" y="1385538"/>
              <a:ext cx="1186070" cy="1186068"/>
              <a:chOff x="6716618" y="2835966"/>
              <a:chExt cx="1186070" cy="1186068"/>
            </a:xfrm>
          </p:grpSpPr>
          <p:sp>
            <p:nvSpPr>
              <p:cNvPr id="160" name="フリーフォーム: 図形 159">
                <a:extLst>
                  <a:ext uri="{FF2B5EF4-FFF2-40B4-BE49-F238E27FC236}">
                    <a16:creationId xmlns:a16="http://schemas.microsoft.com/office/drawing/2014/main" id="{89E0BF50-6D97-4219-B3D2-00010406765A}"/>
                  </a:ext>
                </a:extLst>
              </p:cNvPr>
              <p:cNvSpPr/>
              <p:nvPr/>
            </p:nvSpPr>
            <p:spPr>
              <a:xfrm>
                <a:off x="6716618" y="2835966"/>
                <a:ext cx="1186070" cy="1186068"/>
              </a:xfrm>
              <a:custGeom>
                <a:avLst/>
                <a:gdLst>
                  <a:gd name="connsiteX0" fmla="*/ 855074 w 1186070"/>
                  <a:gd name="connsiteY0" fmla="*/ 1186068 h 1186068"/>
                  <a:gd name="connsiteX1" fmla="*/ 330996 w 1186070"/>
                  <a:gd name="connsiteY1" fmla="*/ 1186068 h 1186068"/>
                  <a:gd name="connsiteX2" fmla="*/ 0 w 1186070"/>
                  <a:gd name="connsiteY2" fmla="*/ 855072 h 1186068"/>
                  <a:gd name="connsiteX3" fmla="*/ 0 w 1186070"/>
                  <a:gd name="connsiteY3" fmla="*/ 330996 h 1186068"/>
                  <a:gd name="connsiteX4" fmla="*/ 330996 w 1186070"/>
                  <a:gd name="connsiteY4" fmla="*/ 0 h 1186068"/>
                  <a:gd name="connsiteX5" fmla="*/ 855074 w 1186070"/>
                  <a:gd name="connsiteY5" fmla="*/ 0 h 1186068"/>
                  <a:gd name="connsiteX6" fmla="*/ 1186071 w 1186070"/>
                  <a:gd name="connsiteY6" fmla="*/ 330996 h 1186068"/>
                  <a:gd name="connsiteX7" fmla="*/ 1186071 w 1186070"/>
                  <a:gd name="connsiteY7" fmla="*/ 855072 h 1186068"/>
                  <a:gd name="connsiteX8" fmla="*/ 855074 w 1186070"/>
                  <a:gd name="connsiteY8" fmla="*/ 1186068 h 118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6070" h="1186068">
                    <a:moveTo>
                      <a:pt x="855074" y="1186068"/>
                    </a:moveTo>
                    <a:lnTo>
                      <a:pt x="330996" y="1186068"/>
                    </a:lnTo>
                    <a:cubicBezTo>
                      <a:pt x="148948" y="1186068"/>
                      <a:pt x="0" y="1037120"/>
                      <a:pt x="0" y="855072"/>
                    </a:cubicBezTo>
                    <a:lnTo>
                      <a:pt x="0" y="330996"/>
                    </a:lnTo>
                    <a:cubicBezTo>
                      <a:pt x="0" y="148948"/>
                      <a:pt x="148948" y="0"/>
                      <a:pt x="330996" y="0"/>
                    </a:cubicBezTo>
                    <a:lnTo>
                      <a:pt x="855074" y="0"/>
                    </a:lnTo>
                    <a:cubicBezTo>
                      <a:pt x="1037122" y="0"/>
                      <a:pt x="1186071" y="148948"/>
                      <a:pt x="1186071" y="330996"/>
                    </a:cubicBezTo>
                    <a:lnTo>
                      <a:pt x="1186071" y="855072"/>
                    </a:lnTo>
                    <a:cubicBezTo>
                      <a:pt x="1186071" y="1037120"/>
                      <a:pt x="1037122" y="1186068"/>
                      <a:pt x="855074" y="1186068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1" name="フリーフォーム: 図形 160">
                <a:extLst>
                  <a:ext uri="{FF2B5EF4-FFF2-40B4-BE49-F238E27FC236}">
                    <a16:creationId xmlns:a16="http://schemas.microsoft.com/office/drawing/2014/main" id="{3C535DAD-4374-472E-BEE1-8030F1AA9DF8}"/>
                  </a:ext>
                </a:extLst>
              </p:cNvPr>
              <p:cNvSpPr/>
              <p:nvPr/>
            </p:nvSpPr>
            <p:spPr>
              <a:xfrm rot="20158655">
                <a:off x="7610164" y="3091689"/>
                <a:ext cx="55166" cy="74475"/>
              </a:xfrm>
              <a:custGeom>
                <a:avLst/>
                <a:gdLst>
                  <a:gd name="connsiteX0" fmla="*/ 0 w 55166"/>
                  <a:gd name="connsiteY0" fmla="*/ 0 h 74475"/>
                  <a:gd name="connsiteX1" fmla="*/ 55167 w 55166"/>
                  <a:gd name="connsiteY1" fmla="*/ 0 h 74475"/>
                  <a:gd name="connsiteX2" fmla="*/ 55167 w 55166"/>
                  <a:gd name="connsiteY2" fmla="*/ 74475 h 74475"/>
                  <a:gd name="connsiteX3" fmla="*/ 0 w 55166"/>
                  <a:gd name="connsiteY3" fmla="*/ 74475 h 74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66" h="74475">
                    <a:moveTo>
                      <a:pt x="0" y="0"/>
                    </a:moveTo>
                    <a:lnTo>
                      <a:pt x="55167" y="0"/>
                    </a:lnTo>
                    <a:lnTo>
                      <a:pt x="55167" y="74475"/>
                    </a:lnTo>
                    <a:lnTo>
                      <a:pt x="0" y="74475"/>
                    </a:lnTo>
                    <a:close/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2" name="フリーフォーム: 図形 161">
                <a:extLst>
                  <a:ext uri="{FF2B5EF4-FFF2-40B4-BE49-F238E27FC236}">
                    <a16:creationId xmlns:a16="http://schemas.microsoft.com/office/drawing/2014/main" id="{E12E0DC9-3270-43F1-AA7B-F5110E08121C}"/>
                  </a:ext>
                </a:extLst>
              </p:cNvPr>
              <p:cNvSpPr/>
              <p:nvPr/>
            </p:nvSpPr>
            <p:spPr>
              <a:xfrm>
                <a:off x="7058647" y="3136508"/>
                <a:ext cx="353062" cy="132809"/>
              </a:xfrm>
              <a:custGeom>
                <a:avLst/>
                <a:gdLst>
                  <a:gd name="connsiteX0" fmla="*/ 88266 w 353062"/>
                  <a:gd name="connsiteY0" fmla="*/ 132510 h 132809"/>
                  <a:gd name="connsiteX1" fmla="*/ 104816 w 353062"/>
                  <a:gd name="connsiteY1" fmla="*/ 129752 h 132809"/>
                  <a:gd name="connsiteX2" fmla="*/ 353063 w 353062"/>
                  <a:gd name="connsiteY2" fmla="*/ 19420 h 132809"/>
                  <a:gd name="connsiteX3" fmla="*/ 330996 w 353062"/>
                  <a:gd name="connsiteY3" fmla="*/ 8387 h 132809"/>
                  <a:gd name="connsiteX4" fmla="*/ 275830 w 353062"/>
                  <a:gd name="connsiteY4" fmla="*/ 2870 h 132809"/>
                  <a:gd name="connsiteX5" fmla="*/ 35858 w 353062"/>
                  <a:gd name="connsiteY5" fmla="*/ 52519 h 132809"/>
                  <a:gd name="connsiteX6" fmla="*/ 0 w 353062"/>
                  <a:gd name="connsiteY6" fmla="*/ 69069 h 132809"/>
                  <a:gd name="connsiteX7" fmla="*/ 8275 w 353062"/>
                  <a:gd name="connsiteY7" fmla="*/ 93894 h 132809"/>
                  <a:gd name="connsiteX8" fmla="*/ 88266 w 353062"/>
                  <a:gd name="connsiteY8" fmla="*/ 132510 h 13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062" h="132809">
                    <a:moveTo>
                      <a:pt x="88266" y="132510"/>
                    </a:moveTo>
                    <a:cubicBezTo>
                      <a:pt x="88266" y="132510"/>
                      <a:pt x="93783" y="132510"/>
                      <a:pt x="104816" y="129752"/>
                    </a:cubicBezTo>
                    <a:lnTo>
                      <a:pt x="353063" y="19420"/>
                    </a:lnTo>
                    <a:cubicBezTo>
                      <a:pt x="344788" y="16662"/>
                      <a:pt x="339271" y="13903"/>
                      <a:pt x="330996" y="8387"/>
                    </a:cubicBezTo>
                    <a:cubicBezTo>
                      <a:pt x="314447" y="112"/>
                      <a:pt x="295139" y="-2647"/>
                      <a:pt x="275830" y="2870"/>
                    </a:cubicBezTo>
                    <a:cubicBezTo>
                      <a:pt x="195840" y="22178"/>
                      <a:pt x="115849" y="47003"/>
                      <a:pt x="35858" y="52519"/>
                    </a:cubicBezTo>
                    <a:cubicBezTo>
                      <a:pt x="22067" y="52519"/>
                      <a:pt x="2758" y="52519"/>
                      <a:pt x="0" y="69069"/>
                    </a:cubicBezTo>
                    <a:cubicBezTo>
                      <a:pt x="0" y="77344"/>
                      <a:pt x="2758" y="85619"/>
                      <a:pt x="8275" y="93894"/>
                    </a:cubicBezTo>
                    <a:cubicBezTo>
                      <a:pt x="30342" y="118719"/>
                      <a:pt x="60683" y="135268"/>
                      <a:pt x="88266" y="132510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3" name="フリーフォーム: 図形 162">
                <a:extLst>
                  <a:ext uri="{FF2B5EF4-FFF2-40B4-BE49-F238E27FC236}">
                    <a16:creationId xmlns:a16="http://schemas.microsoft.com/office/drawing/2014/main" id="{850F4522-DA8E-49E1-8964-99D36DA511EF}"/>
                  </a:ext>
                </a:extLst>
              </p:cNvPr>
              <p:cNvSpPr/>
              <p:nvPr/>
            </p:nvSpPr>
            <p:spPr>
              <a:xfrm>
                <a:off x="7053131" y="3302118"/>
                <a:ext cx="110332" cy="115848"/>
              </a:xfrm>
              <a:custGeom>
                <a:avLst/>
                <a:gdLst>
                  <a:gd name="connsiteX0" fmla="*/ 102057 w 110332"/>
                  <a:gd name="connsiteY0" fmla="*/ 82749 h 115848"/>
                  <a:gd name="connsiteX1" fmla="*/ 110332 w 110332"/>
                  <a:gd name="connsiteY1" fmla="*/ 0 h 115848"/>
                  <a:gd name="connsiteX2" fmla="*/ 107574 w 110332"/>
                  <a:gd name="connsiteY2" fmla="*/ 0 h 115848"/>
                  <a:gd name="connsiteX3" fmla="*/ 0 w 110332"/>
                  <a:gd name="connsiteY3" fmla="*/ 46891 h 115848"/>
                  <a:gd name="connsiteX4" fmla="*/ 30342 w 110332"/>
                  <a:gd name="connsiteY4" fmla="*/ 115849 h 115848"/>
                  <a:gd name="connsiteX5" fmla="*/ 102057 w 110332"/>
                  <a:gd name="connsiteY5" fmla="*/ 82749 h 115848"/>
                  <a:gd name="connsiteX6" fmla="*/ 102057 w 110332"/>
                  <a:gd name="connsiteY6" fmla="*/ 82749 h 11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32" h="115848">
                    <a:moveTo>
                      <a:pt x="102057" y="82749"/>
                    </a:moveTo>
                    <a:cubicBezTo>
                      <a:pt x="91024" y="55166"/>
                      <a:pt x="93783" y="22066"/>
                      <a:pt x="110332" y="0"/>
                    </a:cubicBezTo>
                    <a:cubicBezTo>
                      <a:pt x="110332" y="0"/>
                      <a:pt x="107574" y="0"/>
                      <a:pt x="107574" y="0"/>
                    </a:cubicBezTo>
                    <a:lnTo>
                      <a:pt x="0" y="46891"/>
                    </a:lnTo>
                    <a:lnTo>
                      <a:pt x="30342" y="115849"/>
                    </a:lnTo>
                    <a:lnTo>
                      <a:pt x="102057" y="82749"/>
                    </a:lnTo>
                    <a:cubicBezTo>
                      <a:pt x="102057" y="82749"/>
                      <a:pt x="102057" y="82749"/>
                      <a:pt x="102057" y="8274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フリーフォーム: 図形 163">
                <a:extLst>
                  <a:ext uri="{FF2B5EF4-FFF2-40B4-BE49-F238E27FC236}">
                    <a16:creationId xmlns:a16="http://schemas.microsoft.com/office/drawing/2014/main" id="{46E55FB5-6D9C-4310-8A02-09715F242154}"/>
                  </a:ext>
                </a:extLst>
              </p:cNvPr>
              <p:cNvSpPr/>
              <p:nvPr/>
            </p:nvSpPr>
            <p:spPr>
              <a:xfrm>
                <a:off x="7114503" y="3420725"/>
                <a:ext cx="117917" cy="116403"/>
              </a:xfrm>
              <a:custGeom>
                <a:avLst/>
                <a:gdLst>
                  <a:gd name="connsiteX0" fmla="*/ 117917 w 117917"/>
                  <a:gd name="connsiteY0" fmla="*/ 52408 h 116403"/>
                  <a:gd name="connsiteX1" fmla="*/ 65510 w 117917"/>
                  <a:gd name="connsiteY1" fmla="*/ 0 h 116403"/>
                  <a:gd name="connsiteX2" fmla="*/ 10344 w 117917"/>
                  <a:gd name="connsiteY2" fmla="*/ 49649 h 116403"/>
                  <a:gd name="connsiteX3" fmla="*/ 10344 w 117917"/>
                  <a:gd name="connsiteY3" fmla="*/ 102057 h 116403"/>
                  <a:gd name="connsiteX4" fmla="*/ 62751 w 117917"/>
                  <a:gd name="connsiteY4" fmla="*/ 107574 h 116403"/>
                  <a:gd name="connsiteX5" fmla="*/ 117917 w 117917"/>
                  <a:gd name="connsiteY5" fmla="*/ 52408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403">
                    <a:moveTo>
                      <a:pt x="117917" y="52408"/>
                    </a:moveTo>
                    <a:cubicBezTo>
                      <a:pt x="101368" y="35858"/>
                      <a:pt x="82059" y="19308"/>
                      <a:pt x="65510" y="0"/>
                    </a:cubicBezTo>
                    <a:cubicBezTo>
                      <a:pt x="46202" y="19308"/>
                      <a:pt x="29652" y="35858"/>
                      <a:pt x="10344" y="49649"/>
                    </a:cubicBezTo>
                    <a:cubicBezTo>
                      <a:pt x="-3448" y="60683"/>
                      <a:pt x="-3448" y="85507"/>
                      <a:pt x="10344" y="102057"/>
                    </a:cubicBezTo>
                    <a:cubicBezTo>
                      <a:pt x="24135" y="118607"/>
                      <a:pt x="48960" y="121365"/>
                      <a:pt x="62751" y="107574"/>
                    </a:cubicBezTo>
                    <a:cubicBezTo>
                      <a:pt x="82059" y="91024"/>
                      <a:pt x="101368" y="71716"/>
                      <a:pt x="117917" y="52408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5" name="フリーフォーム: 図形 164">
                <a:extLst>
                  <a:ext uri="{FF2B5EF4-FFF2-40B4-BE49-F238E27FC236}">
                    <a16:creationId xmlns:a16="http://schemas.microsoft.com/office/drawing/2014/main" id="{157B92A0-884D-4C9D-92E7-500C032BCAF5}"/>
                  </a:ext>
                </a:extLst>
              </p:cNvPr>
              <p:cNvSpPr/>
              <p:nvPr/>
            </p:nvSpPr>
            <p:spPr>
              <a:xfrm>
                <a:off x="7188977" y="3489682"/>
                <a:ext cx="117917" cy="116640"/>
              </a:xfrm>
              <a:custGeom>
                <a:avLst/>
                <a:gdLst>
                  <a:gd name="connsiteX0" fmla="*/ 10344 w 117917"/>
                  <a:gd name="connsiteY0" fmla="*/ 57924 h 116640"/>
                  <a:gd name="connsiteX1" fmla="*/ 10344 w 117917"/>
                  <a:gd name="connsiteY1" fmla="*/ 107574 h 116640"/>
                  <a:gd name="connsiteX2" fmla="*/ 62751 w 117917"/>
                  <a:gd name="connsiteY2" fmla="*/ 104815 h 116640"/>
                  <a:gd name="connsiteX3" fmla="*/ 117917 w 117917"/>
                  <a:gd name="connsiteY3" fmla="*/ 44133 h 116640"/>
                  <a:gd name="connsiteX4" fmla="*/ 65510 w 117917"/>
                  <a:gd name="connsiteY4" fmla="*/ 0 h 116640"/>
                  <a:gd name="connsiteX5" fmla="*/ 10344 w 117917"/>
                  <a:gd name="connsiteY5" fmla="*/ 57924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640">
                    <a:moveTo>
                      <a:pt x="10344" y="57924"/>
                    </a:moveTo>
                    <a:cubicBezTo>
                      <a:pt x="-3448" y="71716"/>
                      <a:pt x="-3448" y="93782"/>
                      <a:pt x="10344" y="107574"/>
                    </a:cubicBezTo>
                    <a:cubicBezTo>
                      <a:pt x="24135" y="121365"/>
                      <a:pt x="48960" y="118607"/>
                      <a:pt x="62751" y="104815"/>
                    </a:cubicBezTo>
                    <a:cubicBezTo>
                      <a:pt x="82060" y="85507"/>
                      <a:pt x="98609" y="66199"/>
                      <a:pt x="117917" y="44133"/>
                    </a:cubicBezTo>
                    <a:cubicBezTo>
                      <a:pt x="101368" y="30341"/>
                      <a:pt x="82060" y="16550"/>
                      <a:pt x="65510" y="0"/>
                    </a:cubicBezTo>
                    <a:cubicBezTo>
                      <a:pt x="46202" y="22066"/>
                      <a:pt x="29652" y="41374"/>
                      <a:pt x="10344" y="57924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6" name="フリーフォーム: 図形 165">
                <a:extLst>
                  <a:ext uri="{FF2B5EF4-FFF2-40B4-BE49-F238E27FC236}">
                    <a16:creationId xmlns:a16="http://schemas.microsoft.com/office/drawing/2014/main" id="{316CC046-33D0-46B5-8080-3449184CF78B}"/>
                  </a:ext>
                </a:extLst>
              </p:cNvPr>
              <p:cNvSpPr/>
              <p:nvPr/>
            </p:nvSpPr>
            <p:spPr>
              <a:xfrm>
                <a:off x="7178117" y="3238677"/>
                <a:ext cx="564590" cy="532351"/>
              </a:xfrm>
              <a:custGeom>
                <a:avLst/>
                <a:gdLst>
                  <a:gd name="connsiteX0" fmla="*/ 559074 w 564590"/>
                  <a:gd name="connsiteY0" fmla="*/ 375129 h 532351"/>
                  <a:gd name="connsiteX1" fmla="*/ 528732 w 564590"/>
                  <a:gd name="connsiteY1" fmla="*/ 336512 h 532351"/>
                  <a:gd name="connsiteX2" fmla="*/ 484599 w 564590"/>
                  <a:gd name="connsiteY2" fmla="*/ 253763 h 532351"/>
                  <a:gd name="connsiteX3" fmla="*/ 451500 w 564590"/>
                  <a:gd name="connsiteY3" fmla="*/ 154465 h 532351"/>
                  <a:gd name="connsiteX4" fmla="*/ 412884 w 564590"/>
                  <a:gd name="connsiteY4" fmla="*/ 55166 h 532351"/>
                  <a:gd name="connsiteX5" fmla="*/ 407367 w 564590"/>
                  <a:gd name="connsiteY5" fmla="*/ 46891 h 532351"/>
                  <a:gd name="connsiteX6" fmla="*/ 377025 w 564590"/>
                  <a:gd name="connsiteY6" fmla="*/ 0 h 532351"/>
                  <a:gd name="connsiteX7" fmla="*/ 363234 w 564590"/>
                  <a:gd name="connsiteY7" fmla="*/ 5517 h 532351"/>
                  <a:gd name="connsiteX8" fmla="*/ 363234 w 564590"/>
                  <a:gd name="connsiteY8" fmla="*/ 5517 h 532351"/>
                  <a:gd name="connsiteX9" fmla="*/ 228077 w 564590"/>
                  <a:gd name="connsiteY9" fmla="*/ 66199 h 532351"/>
                  <a:gd name="connsiteX10" fmla="*/ 159120 w 564590"/>
                  <a:gd name="connsiteY10" fmla="*/ 96540 h 532351"/>
                  <a:gd name="connsiteX11" fmla="*/ 159120 w 564590"/>
                  <a:gd name="connsiteY11" fmla="*/ 96540 h 532351"/>
                  <a:gd name="connsiteX12" fmla="*/ 159120 w 564590"/>
                  <a:gd name="connsiteY12" fmla="*/ 96540 h 532351"/>
                  <a:gd name="connsiteX13" fmla="*/ 181186 w 564590"/>
                  <a:gd name="connsiteY13" fmla="*/ 115848 h 532351"/>
                  <a:gd name="connsiteX14" fmla="*/ 200494 w 564590"/>
                  <a:gd name="connsiteY14" fmla="*/ 129640 h 532351"/>
                  <a:gd name="connsiteX15" fmla="*/ 230836 w 564590"/>
                  <a:gd name="connsiteY15" fmla="*/ 151706 h 532351"/>
                  <a:gd name="connsiteX16" fmla="*/ 338409 w 564590"/>
                  <a:gd name="connsiteY16" fmla="*/ 168256 h 532351"/>
                  <a:gd name="connsiteX17" fmla="*/ 352201 w 564590"/>
                  <a:gd name="connsiteY17" fmla="*/ 179289 h 532351"/>
                  <a:gd name="connsiteX18" fmla="*/ 338409 w 564590"/>
                  <a:gd name="connsiteY18" fmla="*/ 198597 h 532351"/>
                  <a:gd name="connsiteX19" fmla="*/ 208769 w 564590"/>
                  <a:gd name="connsiteY19" fmla="*/ 179289 h 532351"/>
                  <a:gd name="connsiteX20" fmla="*/ 206011 w 564590"/>
                  <a:gd name="connsiteY20" fmla="*/ 179289 h 532351"/>
                  <a:gd name="connsiteX21" fmla="*/ 139812 w 564590"/>
                  <a:gd name="connsiteY21" fmla="*/ 129640 h 532351"/>
                  <a:gd name="connsiteX22" fmla="*/ 114987 w 564590"/>
                  <a:gd name="connsiteY22" fmla="*/ 107574 h 532351"/>
                  <a:gd name="connsiteX23" fmla="*/ 95679 w 564590"/>
                  <a:gd name="connsiteY23" fmla="*/ 91024 h 532351"/>
                  <a:gd name="connsiteX24" fmla="*/ 76371 w 564590"/>
                  <a:gd name="connsiteY24" fmla="*/ 71716 h 532351"/>
                  <a:gd name="connsiteX25" fmla="*/ 12929 w 564590"/>
                  <a:gd name="connsiteY25" fmla="*/ 74474 h 532351"/>
                  <a:gd name="connsiteX26" fmla="*/ 4654 w 564590"/>
                  <a:gd name="connsiteY26" fmla="*/ 132398 h 532351"/>
                  <a:gd name="connsiteX27" fmla="*/ 34996 w 564590"/>
                  <a:gd name="connsiteY27" fmla="*/ 165498 h 532351"/>
                  <a:gd name="connsiteX28" fmla="*/ 87404 w 564590"/>
                  <a:gd name="connsiteY28" fmla="*/ 215147 h 532351"/>
                  <a:gd name="connsiteX29" fmla="*/ 161878 w 564590"/>
                  <a:gd name="connsiteY29" fmla="*/ 273071 h 532351"/>
                  <a:gd name="connsiteX30" fmla="*/ 167395 w 564590"/>
                  <a:gd name="connsiteY30" fmla="*/ 281346 h 532351"/>
                  <a:gd name="connsiteX31" fmla="*/ 219802 w 564590"/>
                  <a:gd name="connsiteY31" fmla="*/ 408228 h 532351"/>
                  <a:gd name="connsiteX32" fmla="*/ 272210 w 564590"/>
                  <a:gd name="connsiteY32" fmla="*/ 438569 h 532351"/>
                  <a:gd name="connsiteX33" fmla="*/ 330134 w 564590"/>
                  <a:gd name="connsiteY33" fmla="*/ 452361 h 532351"/>
                  <a:gd name="connsiteX34" fmla="*/ 363234 w 564590"/>
                  <a:gd name="connsiteY34" fmla="*/ 466152 h 532351"/>
                  <a:gd name="connsiteX35" fmla="*/ 423917 w 564590"/>
                  <a:gd name="connsiteY35" fmla="*/ 532352 h 532351"/>
                  <a:gd name="connsiteX36" fmla="*/ 501149 w 564590"/>
                  <a:gd name="connsiteY36" fmla="*/ 441328 h 532351"/>
                  <a:gd name="connsiteX37" fmla="*/ 564591 w 564590"/>
                  <a:gd name="connsiteY37" fmla="*/ 383403 h 532351"/>
                  <a:gd name="connsiteX38" fmla="*/ 559074 w 564590"/>
                  <a:gd name="connsiteY38" fmla="*/ 375129 h 532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64590" h="532351">
                    <a:moveTo>
                      <a:pt x="559074" y="375129"/>
                    </a:moveTo>
                    <a:cubicBezTo>
                      <a:pt x="548041" y="361337"/>
                      <a:pt x="537008" y="350304"/>
                      <a:pt x="528732" y="336512"/>
                    </a:cubicBezTo>
                    <a:cubicBezTo>
                      <a:pt x="509425" y="311688"/>
                      <a:pt x="492875" y="284105"/>
                      <a:pt x="484599" y="253763"/>
                    </a:cubicBezTo>
                    <a:cubicBezTo>
                      <a:pt x="473566" y="226180"/>
                      <a:pt x="462533" y="187564"/>
                      <a:pt x="451500" y="154465"/>
                    </a:cubicBezTo>
                    <a:cubicBezTo>
                      <a:pt x="434950" y="110332"/>
                      <a:pt x="418400" y="66199"/>
                      <a:pt x="412884" y="55166"/>
                    </a:cubicBezTo>
                    <a:cubicBezTo>
                      <a:pt x="412884" y="52408"/>
                      <a:pt x="410125" y="49649"/>
                      <a:pt x="407367" y="46891"/>
                    </a:cubicBezTo>
                    <a:cubicBezTo>
                      <a:pt x="401850" y="35858"/>
                      <a:pt x="390817" y="19308"/>
                      <a:pt x="377025" y="0"/>
                    </a:cubicBezTo>
                    <a:lnTo>
                      <a:pt x="363234" y="5517"/>
                    </a:lnTo>
                    <a:cubicBezTo>
                      <a:pt x="363234" y="5517"/>
                      <a:pt x="363234" y="5517"/>
                      <a:pt x="363234" y="5517"/>
                    </a:cubicBezTo>
                    <a:lnTo>
                      <a:pt x="228077" y="66199"/>
                    </a:lnTo>
                    <a:lnTo>
                      <a:pt x="159120" y="96540"/>
                    </a:lnTo>
                    <a:lnTo>
                      <a:pt x="159120" y="96540"/>
                    </a:lnTo>
                    <a:lnTo>
                      <a:pt x="159120" y="96540"/>
                    </a:lnTo>
                    <a:cubicBezTo>
                      <a:pt x="167395" y="102057"/>
                      <a:pt x="172911" y="110332"/>
                      <a:pt x="181186" y="115848"/>
                    </a:cubicBezTo>
                    <a:cubicBezTo>
                      <a:pt x="186703" y="121365"/>
                      <a:pt x="194978" y="126882"/>
                      <a:pt x="200494" y="129640"/>
                    </a:cubicBezTo>
                    <a:cubicBezTo>
                      <a:pt x="211527" y="137915"/>
                      <a:pt x="222561" y="146190"/>
                      <a:pt x="230836" y="151706"/>
                    </a:cubicBezTo>
                    <a:cubicBezTo>
                      <a:pt x="258419" y="173773"/>
                      <a:pt x="297035" y="176531"/>
                      <a:pt x="338409" y="168256"/>
                    </a:cubicBezTo>
                    <a:cubicBezTo>
                      <a:pt x="346684" y="165498"/>
                      <a:pt x="352201" y="171014"/>
                      <a:pt x="352201" y="179289"/>
                    </a:cubicBezTo>
                    <a:cubicBezTo>
                      <a:pt x="352201" y="187564"/>
                      <a:pt x="346684" y="195839"/>
                      <a:pt x="338409" y="198597"/>
                    </a:cubicBezTo>
                    <a:cubicBezTo>
                      <a:pt x="288760" y="209631"/>
                      <a:pt x="244627" y="204114"/>
                      <a:pt x="208769" y="179289"/>
                    </a:cubicBezTo>
                    <a:cubicBezTo>
                      <a:pt x="208769" y="179289"/>
                      <a:pt x="208769" y="179289"/>
                      <a:pt x="206011" y="179289"/>
                    </a:cubicBezTo>
                    <a:cubicBezTo>
                      <a:pt x="183944" y="162740"/>
                      <a:pt x="161878" y="146190"/>
                      <a:pt x="139812" y="129640"/>
                    </a:cubicBezTo>
                    <a:cubicBezTo>
                      <a:pt x="134295" y="126882"/>
                      <a:pt x="114987" y="107574"/>
                      <a:pt x="114987" y="107574"/>
                    </a:cubicBezTo>
                    <a:cubicBezTo>
                      <a:pt x="109470" y="102057"/>
                      <a:pt x="101195" y="96540"/>
                      <a:pt x="95679" y="91024"/>
                    </a:cubicBezTo>
                    <a:cubicBezTo>
                      <a:pt x="90162" y="85507"/>
                      <a:pt x="81887" y="77232"/>
                      <a:pt x="76371" y="71716"/>
                    </a:cubicBezTo>
                    <a:cubicBezTo>
                      <a:pt x="59821" y="55166"/>
                      <a:pt x="29479" y="55166"/>
                      <a:pt x="12929" y="74474"/>
                    </a:cubicBezTo>
                    <a:cubicBezTo>
                      <a:pt x="-862" y="91024"/>
                      <a:pt x="-3620" y="113090"/>
                      <a:pt x="4654" y="132398"/>
                    </a:cubicBezTo>
                    <a:cubicBezTo>
                      <a:pt x="7413" y="140673"/>
                      <a:pt x="29479" y="162740"/>
                      <a:pt x="34996" y="165498"/>
                    </a:cubicBezTo>
                    <a:cubicBezTo>
                      <a:pt x="51546" y="184806"/>
                      <a:pt x="70854" y="201356"/>
                      <a:pt x="87404" y="215147"/>
                    </a:cubicBezTo>
                    <a:cubicBezTo>
                      <a:pt x="109470" y="234455"/>
                      <a:pt x="161878" y="273071"/>
                      <a:pt x="161878" y="273071"/>
                    </a:cubicBezTo>
                    <a:cubicBezTo>
                      <a:pt x="164636" y="275830"/>
                      <a:pt x="167395" y="278588"/>
                      <a:pt x="167395" y="281346"/>
                    </a:cubicBezTo>
                    <a:cubicBezTo>
                      <a:pt x="167395" y="344787"/>
                      <a:pt x="181186" y="377887"/>
                      <a:pt x="219802" y="408228"/>
                    </a:cubicBezTo>
                    <a:cubicBezTo>
                      <a:pt x="236352" y="419261"/>
                      <a:pt x="252902" y="430294"/>
                      <a:pt x="272210" y="438569"/>
                    </a:cubicBezTo>
                    <a:cubicBezTo>
                      <a:pt x="291518" y="446844"/>
                      <a:pt x="310826" y="446844"/>
                      <a:pt x="330134" y="452361"/>
                    </a:cubicBezTo>
                    <a:cubicBezTo>
                      <a:pt x="341168" y="455119"/>
                      <a:pt x="352201" y="457877"/>
                      <a:pt x="363234" y="466152"/>
                    </a:cubicBezTo>
                    <a:cubicBezTo>
                      <a:pt x="374267" y="474427"/>
                      <a:pt x="412884" y="521318"/>
                      <a:pt x="423917" y="532352"/>
                    </a:cubicBezTo>
                    <a:cubicBezTo>
                      <a:pt x="423917" y="532352"/>
                      <a:pt x="498391" y="446844"/>
                      <a:pt x="501149" y="441328"/>
                    </a:cubicBezTo>
                    <a:cubicBezTo>
                      <a:pt x="523216" y="419261"/>
                      <a:pt x="545282" y="399953"/>
                      <a:pt x="564591" y="383403"/>
                    </a:cubicBezTo>
                    <a:cubicBezTo>
                      <a:pt x="564591" y="383403"/>
                      <a:pt x="564591" y="383403"/>
                      <a:pt x="559074" y="375129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7" name="フリーフォーム: 図形 166">
                <a:extLst>
                  <a:ext uri="{FF2B5EF4-FFF2-40B4-BE49-F238E27FC236}">
                    <a16:creationId xmlns:a16="http://schemas.microsoft.com/office/drawing/2014/main" id="{4014ED7D-FF17-4EF5-88B0-6A6B1729667C}"/>
                  </a:ext>
                </a:extLst>
              </p:cNvPr>
              <p:cNvSpPr/>
              <p:nvPr/>
            </p:nvSpPr>
            <p:spPr>
              <a:xfrm>
                <a:off x="7232421" y="3120070"/>
                <a:ext cx="366854" cy="198597"/>
              </a:xfrm>
              <a:custGeom>
                <a:avLst/>
                <a:gdLst>
                  <a:gd name="connsiteX0" fmla="*/ 11033 w 366854"/>
                  <a:gd name="connsiteY0" fmla="*/ 143431 h 198597"/>
                  <a:gd name="connsiteX1" fmla="*/ 0 w 366854"/>
                  <a:gd name="connsiteY1" fmla="*/ 148948 h 198597"/>
                  <a:gd name="connsiteX2" fmla="*/ 46891 w 366854"/>
                  <a:gd name="connsiteY2" fmla="*/ 176531 h 198597"/>
                  <a:gd name="connsiteX3" fmla="*/ 46891 w 366854"/>
                  <a:gd name="connsiteY3" fmla="*/ 176531 h 198597"/>
                  <a:gd name="connsiteX4" fmla="*/ 74474 w 366854"/>
                  <a:gd name="connsiteY4" fmla="*/ 198597 h 198597"/>
                  <a:gd name="connsiteX5" fmla="*/ 366854 w 366854"/>
                  <a:gd name="connsiteY5" fmla="*/ 68957 h 198597"/>
                  <a:gd name="connsiteX6" fmla="*/ 336513 w 366854"/>
                  <a:gd name="connsiteY6" fmla="*/ 0 h 198597"/>
                  <a:gd name="connsiteX7" fmla="*/ 11033 w 366854"/>
                  <a:gd name="connsiteY7" fmla="*/ 143431 h 198597"/>
                  <a:gd name="connsiteX8" fmla="*/ 11033 w 366854"/>
                  <a:gd name="connsiteY8" fmla="*/ 143431 h 198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6854" h="198597">
                    <a:moveTo>
                      <a:pt x="11033" y="143431"/>
                    </a:moveTo>
                    <a:lnTo>
                      <a:pt x="0" y="148948"/>
                    </a:lnTo>
                    <a:cubicBezTo>
                      <a:pt x="0" y="148948"/>
                      <a:pt x="27583" y="157223"/>
                      <a:pt x="46891" y="176531"/>
                    </a:cubicBezTo>
                    <a:lnTo>
                      <a:pt x="46891" y="176531"/>
                    </a:lnTo>
                    <a:cubicBezTo>
                      <a:pt x="55166" y="184806"/>
                      <a:pt x="66200" y="193081"/>
                      <a:pt x="74474" y="198597"/>
                    </a:cubicBezTo>
                    <a:lnTo>
                      <a:pt x="366854" y="68957"/>
                    </a:lnTo>
                    <a:lnTo>
                      <a:pt x="336513" y="0"/>
                    </a:lnTo>
                    <a:lnTo>
                      <a:pt x="11033" y="143431"/>
                    </a:lnTo>
                    <a:cubicBezTo>
                      <a:pt x="11033" y="143431"/>
                      <a:pt x="11033" y="143431"/>
                      <a:pt x="11033" y="143431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8" name="フリーフォーム: 図形 167">
                <a:extLst>
                  <a:ext uri="{FF2B5EF4-FFF2-40B4-BE49-F238E27FC236}">
                    <a16:creationId xmlns:a16="http://schemas.microsoft.com/office/drawing/2014/main" id="{DED64181-7E2A-4611-AD36-3DBFCE963F5E}"/>
                  </a:ext>
                </a:extLst>
              </p:cNvPr>
              <p:cNvSpPr/>
              <p:nvPr/>
            </p:nvSpPr>
            <p:spPr>
              <a:xfrm>
                <a:off x="6862808" y="3365559"/>
                <a:ext cx="193081" cy="140673"/>
              </a:xfrm>
              <a:custGeom>
                <a:avLst/>
                <a:gdLst>
                  <a:gd name="connsiteX0" fmla="*/ 137915 w 193081"/>
                  <a:gd name="connsiteY0" fmla="*/ 11033 h 140673"/>
                  <a:gd name="connsiteX1" fmla="*/ 63441 w 193081"/>
                  <a:gd name="connsiteY1" fmla="*/ 0 h 140673"/>
                  <a:gd name="connsiteX2" fmla="*/ 60683 w 193081"/>
                  <a:gd name="connsiteY2" fmla="*/ 0 h 140673"/>
                  <a:gd name="connsiteX3" fmla="*/ 57924 w 193081"/>
                  <a:gd name="connsiteY3" fmla="*/ 2758 h 140673"/>
                  <a:gd name="connsiteX4" fmla="*/ 13792 w 193081"/>
                  <a:gd name="connsiteY4" fmla="*/ 79991 h 140673"/>
                  <a:gd name="connsiteX5" fmla="*/ 0 w 193081"/>
                  <a:gd name="connsiteY5" fmla="*/ 104815 h 140673"/>
                  <a:gd name="connsiteX6" fmla="*/ 63441 w 193081"/>
                  <a:gd name="connsiteY6" fmla="*/ 74474 h 140673"/>
                  <a:gd name="connsiteX7" fmla="*/ 68958 w 193081"/>
                  <a:gd name="connsiteY7" fmla="*/ 66199 h 140673"/>
                  <a:gd name="connsiteX8" fmla="*/ 77233 w 193081"/>
                  <a:gd name="connsiteY8" fmla="*/ 55166 h 140673"/>
                  <a:gd name="connsiteX9" fmla="*/ 91024 w 193081"/>
                  <a:gd name="connsiteY9" fmla="*/ 49649 h 140673"/>
                  <a:gd name="connsiteX10" fmla="*/ 113090 w 193081"/>
                  <a:gd name="connsiteY10" fmla="*/ 71716 h 140673"/>
                  <a:gd name="connsiteX11" fmla="*/ 85507 w 193081"/>
                  <a:gd name="connsiteY11" fmla="*/ 91024 h 140673"/>
                  <a:gd name="connsiteX12" fmla="*/ 79991 w 193081"/>
                  <a:gd name="connsiteY12" fmla="*/ 88265 h 140673"/>
                  <a:gd name="connsiteX13" fmla="*/ 71716 w 193081"/>
                  <a:gd name="connsiteY13" fmla="*/ 91024 h 140673"/>
                  <a:gd name="connsiteX14" fmla="*/ 8275 w 193081"/>
                  <a:gd name="connsiteY14" fmla="*/ 121365 h 140673"/>
                  <a:gd name="connsiteX15" fmla="*/ 88266 w 193081"/>
                  <a:gd name="connsiteY15" fmla="*/ 135157 h 140673"/>
                  <a:gd name="connsiteX16" fmla="*/ 124124 w 193081"/>
                  <a:gd name="connsiteY16" fmla="*/ 140673 h 140673"/>
                  <a:gd name="connsiteX17" fmla="*/ 129640 w 193081"/>
                  <a:gd name="connsiteY17" fmla="*/ 140673 h 140673"/>
                  <a:gd name="connsiteX18" fmla="*/ 143432 w 193081"/>
                  <a:gd name="connsiteY18" fmla="*/ 118607 h 140673"/>
                  <a:gd name="connsiteX19" fmla="*/ 168256 w 193081"/>
                  <a:gd name="connsiteY19" fmla="*/ 77232 h 140673"/>
                  <a:gd name="connsiteX20" fmla="*/ 179290 w 193081"/>
                  <a:gd name="connsiteY20" fmla="*/ 66199 h 140673"/>
                  <a:gd name="connsiteX21" fmla="*/ 193081 w 193081"/>
                  <a:gd name="connsiteY21" fmla="*/ 60683 h 140673"/>
                  <a:gd name="connsiteX22" fmla="*/ 168256 w 193081"/>
                  <a:gd name="connsiteY22" fmla="*/ 8275 h 140673"/>
                  <a:gd name="connsiteX23" fmla="*/ 137915 w 193081"/>
                  <a:gd name="connsiteY23" fmla="*/ 11033 h 140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93081" h="140673">
                    <a:moveTo>
                      <a:pt x="137915" y="11033"/>
                    </a:moveTo>
                    <a:cubicBezTo>
                      <a:pt x="124124" y="8275"/>
                      <a:pt x="63441" y="0"/>
                      <a:pt x="63441" y="0"/>
                    </a:cubicBezTo>
                    <a:cubicBezTo>
                      <a:pt x="63441" y="0"/>
                      <a:pt x="60683" y="0"/>
                      <a:pt x="60683" y="0"/>
                    </a:cubicBezTo>
                    <a:cubicBezTo>
                      <a:pt x="60683" y="0"/>
                      <a:pt x="57924" y="2758"/>
                      <a:pt x="57924" y="2758"/>
                    </a:cubicBezTo>
                    <a:cubicBezTo>
                      <a:pt x="57924" y="2758"/>
                      <a:pt x="13792" y="79991"/>
                      <a:pt x="13792" y="79991"/>
                    </a:cubicBezTo>
                    <a:lnTo>
                      <a:pt x="0" y="104815"/>
                    </a:lnTo>
                    <a:cubicBezTo>
                      <a:pt x="5517" y="102057"/>
                      <a:pt x="60683" y="77232"/>
                      <a:pt x="63441" y="74474"/>
                    </a:cubicBezTo>
                    <a:cubicBezTo>
                      <a:pt x="68958" y="71716"/>
                      <a:pt x="68958" y="68957"/>
                      <a:pt x="68958" y="66199"/>
                    </a:cubicBezTo>
                    <a:cubicBezTo>
                      <a:pt x="68958" y="63441"/>
                      <a:pt x="71716" y="57924"/>
                      <a:pt x="77233" y="55166"/>
                    </a:cubicBezTo>
                    <a:cubicBezTo>
                      <a:pt x="82749" y="52408"/>
                      <a:pt x="88266" y="49649"/>
                      <a:pt x="91024" y="49649"/>
                    </a:cubicBezTo>
                    <a:cubicBezTo>
                      <a:pt x="102057" y="49649"/>
                      <a:pt x="113090" y="57924"/>
                      <a:pt x="113090" y="71716"/>
                    </a:cubicBezTo>
                    <a:cubicBezTo>
                      <a:pt x="113090" y="85507"/>
                      <a:pt x="99299" y="96540"/>
                      <a:pt x="85507" y="91024"/>
                    </a:cubicBezTo>
                    <a:cubicBezTo>
                      <a:pt x="82749" y="91024"/>
                      <a:pt x="79991" y="88265"/>
                      <a:pt x="79991" y="88265"/>
                    </a:cubicBezTo>
                    <a:cubicBezTo>
                      <a:pt x="77233" y="88265"/>
                      <a:pt x="74474" y="88265"/>
                      <a:pt x="71716" y="91024"/>
                    </a:cubicBezTo>
                    <a:cubicBezTo>
                      <a:pt x="60683" y="96540"/>
                      <a:pt x="11033" y="118607"/>
                      <a:pt x="8275" y="121365"/>
                    </a:cubicBezTo>
                    <a:lnTo>
                      <a:pt x="88266" y="135157"/>
                    </a:lnTo>
                    <a:lnTo>
                      <a:pt x="124124" y="140673"/>
                    </a:lnTo>
                    <a:cubicBezTo>
                      <a:pt x="124124" y="140673"/>
                      <a:pt x="126882" y="140673"/>
                      <a:pt x="129640" y="140673"/>
                    </a:cubicBezTo>
                    <a:lnTo>
                      <a:pt x="143432" y="118607"/>
                    </a:lnTo>
                    <a:lnTo>
                      <a:pt x="168256" y="77232"/>
                    </a:lnTo>
                    <a:cubicBezTo>
                      <a:pt x="168256" y="77232"/>
                      <a:pt x="171015" y="71716"/>
                      <a:pt x="179290" y="66199"/>
                    </a:cubicBezTo>
                    <a:cubicBezTo>
                      <a:pt x="184806" y="63441"/>
                      <a:pt x="193081" y="60683"/>
                      <a:pt x="193081" y="60683"/>
                    </a:cubicBezTo>
                    <a:lnTo>
                      <a:pt x="168256" y="8275"/>
                    </a:lnTo>
                    <a:cubicBezTo>
                      <a:pt x="165498" y="5517"/>
                      <a:pt x="151707" y="13791"/>
                      <a:pt x="137915" y="11033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79" name="グループ化 178">
            <a:extLst>
              <a:ext uri="{FF2B5EF4-FFF2-40B4-BE49-F238E27FC236}">
                <a16:creationId xmlns:a16="http://schemas.microsoft.com/office/drawing/2014/main" id="{8F19A085-6E48-42BC-A94A-9E3BCED1DA6C}"/>
              </a:ext>
            </a:extLst>
          </p:cNvPr>
          <p:cNvGrpSpPr/>
          <p:nvPr/>
        </p:nvGrpSpPr>
        <p:grpSpPr>
          <a:xfrm>
            <a:off x="4563275" y="511046"/>
            <a:ext cx="3752249" cy="628297"/>
            <a:chOff x="600862" y="4369802"/>
            <a:chExt cx="10981721" cy="1838840"/>
          </a:xfrm>
        </p:grpSpPr>
        <p:sp>
          <p:nvSpPr>
            <p:cNvPr id="180" name="フリーフォーム: 図形 179">
              <a:extLst>
                <a:ext uri="{FF2B5EF4-FFF2-40B4-BE49-F238E27FC236}">
                  <a16:creationId xmlns:a16="http://schemas.microsoft.com/office/drawing/2014/main" id="{B7E92C6B-64A0-430F-9201-8DA470C2EA0A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フリーフォーム: 図形 180">
              <a:extLst>
                <a:ext uri="{FF2B5EF4-FFF2-40B4-BE49-F238E27FC236}">
                  <a16:creationId xmlns:a16="http://schemas.microsoft.com/office/drawing/2014/main" id="{303D441C-3A28-4EA4-93B9-F2F77AFB1437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フリーフォーム: 図形 181">
              <a:extLst>
                <a:ext uri="{FF2B5EF4-FFF2-40B4-BE49-F238E27FC236}">
                  <a16:creationId xmlns:a16="http://schemas.microsoft.com/office/drawing/2014/main" id="{226756A3-33C2-4C33-BD52-F0F93674EA8C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フリーフォーム: 図形 182">
              <a:extLst>
                <a:ext uri="{FF2B5EF4-FFF2-40B4-BE49-F238E27FC236}">
                  <a16:creationId xmlns:a16="http://schemas.microsoft.com/office/drawing/2014/main" id="{2A0AFD35-0E4A-41C9-A3B8-F025ABED06ED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フリーフォーム: 図形 183">
              <a:extLst>
                <a:ext uri="{FF2B5EF4-FFF2-40B4-BE49-F238E27FC236}">
                  <a16:creationId xmlns:a16="http://schemas.microsoft.com/office/drawing/2014/main" id="{5446DCFB-95BC-4FAF-9BB0-C0BCE15DC1FD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フリーフォーム: 図形 184">
              <a:extLst>
                <a:ext uri="{FF2B5EF4-FFF2-40B4-BE49-F238E27FC236}">
                  <a16:creationId xmlns:a16="http://schemas.microsoft.com/office/drawing/2014/main" id="{78AEAFAC-92B4-432C-BD90-5A907C046AB7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フリーフォーム: 図形 185">
              <a:extLst>
                <a:ext uri="{FF2B5EF4-FFF2-40B4-BE49-F238E27FC236}">
                  <a16:creationId xmlns:a16="http://schemas.microsoft.com/office/drawing/2014/main" id="{DAAF7D30-8F44-47BE-A034-DF19A4F19415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フリーフォーム: 図形 186">
              <a:extLst>
                <a:ext uri="{FF2B5EF4-FFF2-40B4-BE49-F238E27FC236}">
                  <a16:creationId xmlns:a16="http://schemas.microsoft.com/office/drawing/2014/main" id="{2E055FF0-29DF-412D-A31F-0B002A2C25FD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フリーフォーム: 図形 187">
              <a:extLst>
                <a:ext uri="{FF2B5EF4-FFF2-40B4-BE49-F238E27FC236}">
                  <a16:creationId xmlns:a16="http://schemas.microsoft.com/office/drawing/2014/main" id="{FA419C63-E095-4D56-B58C-53DC32A51F24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フリーフォーム: 図形 188">
              <a:extLst>
                <a:ext uri="{FF2B5EF4-FFF2-40B4-BE49-F238E27FC236}">
                  <a16:creationId xmlns:a16="http://schemas.microsoft.com/office/drawing/2014/main" id="{462360C6-15BD-4F7E-BC6F-307AE84CFF75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フリーフォーム: 図形 189">
              <a:extLst>
                <a:ext uri="{FF2B5EF4-FFF2-40B4-BE49-F238E27FC236}">
                  <a16:creationId xmlns:a16="http://schemas.microsoft.com/office/drawing/2014/main" id="{BEA4BDFF-F385-4931-856F-2DAA03659428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フリーフォーム: 図形 190">
              <a:extLst>
                <a:ext uri="{FF2B5EF4-FFF2-40B4-BE49-F238E27FC236}">
                  <a16:creationId xmlns:a16="http://schemas.microsoft.com/office/drawing/2014/main" id="{1CCE51B6-590D-4C1F-A53C-DEC53B9B562F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フリーフォーム: 図形 191">
              <a:extLst>
                <a:ext uri="{FF2B5EF4-FFF2-40B4-BE49-F238E27FC236}">
                  <a16:creationId xmlns:a16="http://schemas.microsoft.com/office/drawing/2014/main" id="{1148616C-851F-41F8-ADF1-2D6B4B2EAA09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フリーフォーム: 図形 192">
              <a:extLst>
                <a:ext uri="{FF2B5EF4-FFF2-40B4-BE49-F238E27FC236}">
                  <a16:creationId xmlns:a16="http://schemas.microsoft.com/office/drawing/2014/main" id="{D4AB7A7D-A6E5-48A4-AE88-70D2C824B39A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フリーフォーム: 図形 193">
              <a:extLst>
                <a:ext uri="{FF2B5EF4-FFF2-40B4-BE49-F238E27FC236}">
                  <a16:creationId xmlns:a16="http://schemas.microsoft.com/office/drawing/2014/main" id="{FD6FCE57-FB2B-4D92-9CE6-70044D3D5153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フリーフォーム: 図形 194">
              <a:extLst>
                <a:ext uri="{FF2B5EF4-FFF2-40B4-BE49-F238E27FC236}">
                  <a16:creationId xmlns:a16="http://schemas.microsoft.com/office/drawing/2014/main" id="{0C6B4023-9553-4B85-968E-C1084F0E4B9A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フリーフォーム: 図形 195">
              <a:extLst>
                <a:ext uri="{FF2B5EF4-FFF2-40B4-BE49-F238E27FC236}">
                  <a16:creationId xmlns:a16="http://schemas.microsoft.com/office/drawing/2014/main" id="{47DCD5B7-73E7-4A61-BFEC-C229A2D44726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フリーフォーム: 図形 196">
              <a:extLst>
                <a:ext uri="{FF2B5EF4-FFF2-40B4-BE49-F238E27FC236}">
                  <a16:creationId xmlns:a16="http://schemas.microsoft.com/office/drawing/2014/main" id="{44344E74-9FD4-422F-9838-229AF9E21729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フリーフォーム: 図形 197">
              <a:extLst>
                <a:ext uri="{FF2B5EF4-FFF2-40B4-BE49-F238E27FC236}">
                  <a16:creationId xmlns:a16="http://schemas.microsoft.com/office/drawing/2014/main" id="{1EF45BF1-A4D7-41A4-BCE2-4569AEB88610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フリーフォーム: 図形 198">
              <a:extLst>
                <a:ext uri="{FF2B5EF4-FFF2-40B4-BE49-F238E27FC236}">
                  <a16:creationId xmlns:a16="http://schemas.microsoft.com/office/drawing/2014/main" id="{44CD3DB6-FEC1-45F4-8689-0664D82986AC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フリーフォーム: 図形 199">
              <a:extLst>
                <a:ext uri="{FF2B5EF4-FFF2-40B4-BE49-F238E27FC236}">
                  <a16:creationId xmlns:a16="http://schemas.microsoft.com/office/drawing/2014/main" id="{D65DEE5F-B37C-4632-BDC2-C5E931968F8B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フリーフォーム: 図形 200">
              <a:extLst>
                <a:ext uri="{FF2B5EF4-FFF2-40B4-BE49-F238E27FC236}">
                  <a16:creationId xmlns:a16="http://schemas.microsoft.com/office/drawing/2014/main" id="{5DD4641C-1240-4784-BD93-309416E1885D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フリーフォーム: 図形 201">
              <a:extLst>
                <a:ext uri="{FF2B5EF4-FFF2-40B4-BE49-F238E27FC236}">
                  <a16:creationId xmlns:a16="http://schemas.microsoft.com/office/drawing/2014/main" id="{1AFC9FA1-E8A7-4851-B770-F1B1D6ACB98E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フリーフォーム: 図形 202">
              <a:extLst>
                <a:ext uri="{FF2B5EF4-FFF2-40B4-BE49-F238E27FC236}">
                  <a16:creationId xmlns:a16="http://schemas.microsoft.com/office/drawing/2014/main" id="{05702E3C-B27E-4625-959D-FCEDF713FC61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4" name="テキスト ボックス 203">
            <a:extLst>
              <a:ext uri="{FF2B5EF4-FFF2-40B4-BE49-F238E27FC236}">
                <a16:creationId xmlns:a16="http://schemas.microsoft.com/office/drawing/2014/main" id="{60F7E36A-CD2B-4CEB-8E0E-0434C786159B}"/>
              </a:ext>
            </a:extLst>
          </p:cNvPr>
          <p:cNvSpPr txBox="1"/>
          <p:nvPr/>
        </p:nvSpPr>
        <p:spPr>
          <a:xfrm>
            <a:off x="3859623" y="532808"/>
            <a:ext cx="5025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+</a:t>
            </a:r>
            <a:endParaRPr lang="ja-JP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角丸四角形 68">
            <a:extLst>
              <a:ext uri="{FF2B5EF4-FFF2-40B4-BE49-F238E27FC236}">
                <a16:creationId xmlns:a16="http://schemas.microsoft.com/office/drawing/2014/main" id="{DC24F704-6D87-4C9B-88DE-2E9B9E79166C}"/>
              </a:ext>
            </a:extLst>
          </p:cNvPr>
          <p:cNvSpPr/>
          <p:nvPr/>
        </p:nvSpPr>
        <p:spPr>
          <a:xfrm>
            <a:off x="2496284" y="1403641"/>
            <a:ext cx="3732683" cy="1938562"/>
          </a:xfrm>
          <a:prstGeom prst="roundRect">
            <a:avLst>
              <a:gd name="adj" fmla="val 4681"/>
            </a:avLst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altLang="ja-JP" sz="1200" b="1" kern="0" dirty="0">
                <a:solidFill>
                  <a:schemeClr val="bg1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ConMas Server</a:t>
            </a:r>
            <a:endParaRPr kumimoji="0" lang="ja-JP" altLang="en-US" sz="1200" b="1" kern="0" dirty="0">
              <a:solidFill>
                <a:schemeClr val="bg1"/>
              </a:solidFill>
              <a:latin typeface="Arial" panose="020B0604020202020204" pitchFamily="34" charset="0"/>
              <a:ea typeface="UD Digi Kyokasho N-B" panose="02020700000000000000" pitchFamily="17" charset="-128"/>
              <a:cs typeface="Arial" panose="020B0604020202020204" pitchFamily="34" charset="0"/>
            </a:endParaRPr>
          </a:p>
        </p:txBody>
      </p:sp>
      <p:pic>
        <p:nvPicPr>
          <p:cNvPr id="154" name="図 153">
            <a:extLst>
              <a:ext uri="{FF2B5EF4-FFF2-40B4-BE49-F238E27FC236}">
                <a16:creationId xmlns:a16="http://schemas.microsoft.com/office/drawing/2014/main" id="{F4B86C46-1F82-496B-94E4-D6F7ACC3E3D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257" y="1789125"/>
            <a:ext cx="1875423" cy="1309968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155" name="図 154">
            <a:extLst>
              <a:ext uri="{FF2B5EF4-FFF2-40B4-BE49-F238E27FC236}">
                <a16:creationId xmlns:a16="http://schemas.microsoft.com/office/drawing/2014/main" id="{E1A45D31-92E4-4840-B5AB-90289D31BE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180" y="1644486"/>
            <a:ext cx="1288376" cy="1179346"/>
          </a:xfrm>
          <a:prstGeom prst="rect">
            <a:avLst/>
          </a:prstGeom>
        </p:spPr>
      </p:pic>
      <p:sp>
        <p:nvSpPr>
          <p:cNvPr id="206" name="正方形/長方形 205">
            <a:extLst>
              <a:ext uri="{FF2B5EF4-FFF2-40B4-BE49-F238E27FC236}">
                <a16:creationId xmlns:a16="http://schemas.microsoft.com/office/drawing/2014/main" id="{8339A924-60C8-4739-BD07-E5250EAC85D2}"/>
              </a:ext>
            </a:extLst>
          </p:cNvPr>
          <p:cNvSpPr/>
          <p:nvPr/>
        </p:nvSpPr>
        <p:spPr>
          <a:xfrm>
            <a:off x="2700643" y="2728975"/>
            <a:ext cx="129097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1050" dirty="0">
                <a:solidFill>
                  <a:schemeClr val="bg1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PostgreSQL </a:t>
            </a:r>
            <a:br>
              <a:rPr lang="en-US" altLang="ja-JP" sz="1050" dirty="0">
                <a:solidFill>
                  <a:schemeClr val="bg1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</a:br>
            <a:r>
              <a:rPr lang="en-US" altLang="ja-JP" sz="1050" dirty="0">
                <a:solidFill>
                  <a:schemeClr val="bg1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Data Base</a:t>
            </a:r>
          </a:p>
        </p:txBody>
      </p:sp>
      <p:grpSp>
        <p:nvGrpSpPr>
          <p:cNvPr id="208" name="グループ化 207">
            <a:extLst>
              <a:ext uri="{FF2B5EF4-FFF2-40B4-BE49-F238E27FC236}">
                <a16:creationId xmlns:a16="http://schemas.microsoft.com/office/drawing/2014/main" id="{8E292745-6919-4234-9889-B37088377D6F}"/>
              </a:ext>
            </a:extLst>
          </p:cNvPr>
          <p:cNvGrpSpPr/>
          <p:nvPr/>
        </p:nvGrpSpPr>
        <p:grpSpPr>
          <a:xfrm>
            <a:off x="3289777" y="3691147"/>
            <a:ext cx="888671" cy="813173"/>
            <a:chOff x="3102307" y="2206099"/>
            <a:chExt cx="686520" cy="663608"/>
          </a:xfrm>
        </p:grpSpPr>
        <p:sp>
          <p:nvSpPr>
            <p:cNvPr id="209" name="角丸四角形 98">
              <a:extLst>
                <a:ext uri="{FF2B5EF4-FFF2-40B4-BE49-F238E27FC236}">
                  <a16:creationId xmlns:a16="http://schemas.microsoft.com/office/drawing/2014/main" id="{C41DBFCD-5CA4-4351-94BA-F45CB9E60156}"/>
                </a:ext>
              </a:extLst>
            </p:cNvPr>
            <p:cNvSpPr/>
            <p:nvPr/>
          </p:nvSpPr>
          <p:spPr>
            <a:xfrm>
              <a:off x="3102307" y="2485744"/>
              <a:ext cx="686520" cy="383963"/>
            </a:xfrm>
            <a:prstGeom prst="roundRect">
              <a:avLst>
                <a:gd name="adj" fmla="val 50000"/>
              </a:avLst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>
              <a:softEdge rad="63500"/>
            </a:effectLst>
          </p:spPr>
          <p:txBody>
            <a:bodyPr lIns="0" tIns="0" rIns="0" bIns="0" rtlCol="0" anchor="t" anchorCtr="0"/>
            <a:lstStyle/>
            <a:p>
              <a:pPr algn="ctr">
                <a:lnSpc>
                  <a:spcPts val="1000"/>
                </a:lnSpc>
                <a:defRPr/>
              </a:pPr>
              <a:r>
                <a:rPr lang="en-US" altLang="ja-JP" sz="800" b="1" kern="0" dirty="0">
                  <a:solidFill>
                    <a:srgbClr val="0000CC"/>
                  </a:solidFill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rPr>
                <a:t>LOGIN ID</a:t>
              </a:r>
            </a:p>
            <a:p>
              <a:pPr algn="ctr">
                <a:lnSpc>
                  <a:spcPts val="1000"/>
                </a:lnSpc>
                <a:defRPr/>
              </a:pPr>
              <a:r>
                <a:rPr lang="en-US" altLang="ja-JP" sz="800" b="1" kern="0" dirty="0">
                  <a:solidFill>
                    <a:srgbClr val="0000CC"/>
                  </a:solidFill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rPr>
                <a:t>PW</a:t>
              </a:r>
            </a:p>
          </p:txBody>
        </p:sp>
        <p:pic>
          <p:nvPicPr>
            <p:cNvPr id="210" name="Picture 2">
              <a:extLst>
                <a:ext uri="{FF2B5EF4-FFF2-40B4-BE49-F238E27FC236}">
                  <a16:creationId xmlns:a16="http://schemas.microsoft.com/office/drawing/2014/main" id="{82F630D6-CBAD-4181-9ADA-EC916343B1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78853" y="2206099"/>
              <a:ext cx="305696" cy="3254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11" name="Picture 6" descr="X:\ConMas開発\i-Reporter 開発\i-Reporter 業務フロー\PDFファイル.png">
            <a:extLst>
              <a:ext uri="{FF2B5EF4-FFF2-40B4-BE49-F238E27FC236}">
                <a16:creationId xmlns:a16="http://schemas.microsoft.com/office/drawing/2014/main" id="{A6859023-AD7D-4541-8209-667022B5C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585" y="1617156"/>
            <a:ext cx="515916" cy="47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" name="Picture 3" descr="C:\Users\sameru\Desktop\excel.jpg">
            <a:extLst>
              <a:ext uri="{FF2B5EF4-FFF2-40B4-BE49-F238E27FC236}">
                <a16:creationId xmlns:a16="http://schemas.microsoft.com/office/drawing/2014/main" id="{02288571-03D9-4DD3-9ACC-57E112015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631" y="1627102"/>
            <a:ext cx="381053" cy="348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Picture 4" descr="C:\Users\sameru\Desktop\word.jpg">
            <a:extLst>
              <a:ext uri="{FF2B5EF4-FFF2-40B4-BE49-F238E27FC236}">
                <a16:creationId xmlns:a16="http://schemas.microsoft.com/office/drawing/2014/main" id="{417BC9BE-CD4D-4B9A-8C1E-EAE3AEC555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029" y="2050268"/>
            <a:ext cx="364686" cy="332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4" name="正方形/長方形 213">
            <a:extLst>
              <a:ext uri="{FF2B5EF4-FFF2-40B4-BE49-F238E27FC236}">
                <a16:creationId xmlns:a16="http://schemas.microsoft.com/office/drawing/2014/main" id="{ADA7031C-1627-4805-9B84-019A4D4362FC}"/>
              </a:ext>
            </a:extLst>
          </p:cNvPr>
          <p:cNvSpPr/>
          <p:nvPr/>
        </p:nvSpPr>
        <p:spPr>
          <a:xfrm>
            <a:off x="7030440" y="1724304"/>
            <a:ext cx="31893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400" b="1" dirty="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PDF Documents, PDF Drawings</a:t>
            </a:r>
          </a:p>
          <a:p>
            <a:r>
              <a:rPr lang="en-US" altLang="ja-JP" sz="1400" b="1" dirty="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Excel, Word, PowerPoint Office Documents</a:t>
            </a:r>
          </a:p>
          <a:p>
            <a:r>
              <a:rPr lang="en-US" altLang="ja-JP" sz="1400" b="1" dirty="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Image, audio, video</a:t>
            </a:r>
            <a:endParaRPr lang="en-US" altLang="ja-JP" sz="1050" b="1" dirty="0">
              <a:latin typeface="Arial" panose="020B0604020202020204" pitchFamily="34" charset="0"/>
              <a:ea typeface="UD Digi Kyokasho N-B" panose="02020700000000000000" pitchFamily="17" charset="-128"/>
              <a:cs typeface="Arial" panose="020B0604020202020204" pitchFamily="34" charset="0"/>
            </a:endParaRPr>
          </a:p>
        </p:txBody>
      </p:sp>
      <p:sp>
        <p:nvSpPr>
          <p:cNvPr id="215" name="角丸四角形 91">
            <a:extLst>
              <a:ext uri="{FF2B5EF4-FFF2-40B4-BE49-F238E27FC236}">
                <a16:creationId xmlns:a16="http://schemas.microsoft.com/office/drawing/2014/main" id="{7EC74843-3A87-44A7-9D02-506743439584}"/>
              </a:ext>
            </a:extLst>
          </p:cNvPr>
          <p:cNvSpPr/>
          <p:nvPr/>
        </p:nvSpPr>
        <p:spPr>
          <a:xfrm>
            <a:off x="306576" y="3754556"/>
            <a:ext cx="2983482" cy="2578693"/>
          </a:xfrm>
          <a:prstGeom prst="roundRect">
            <a:avLst>
              <a:gd name="adj" fmla="val 4045"/>
            </a:avLst>
          </a:prstGeom>
          <a:gradFill rotWithShape="1">
            <a:gsLst>
              <a:gs pos="0">
                <a:srgbClr val="F4891E">
                  <a:shade val="51000"/>
                  <a:satMod val="130000"/>
                </a:srgbClr>
              </a:gs>
              <a:gs pos="80000">
                <a:srgbClr val="F4891E">
                  <a:shade val="93000"/>
                  <a:satMod val="130000"/>
                </a:srgbClr>
              </a:gs>
              <a:gs pos="100000">
                <a:srgbClr val="F4891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4891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t" anchorCtr="0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0" lang="ja-JP" altLang="en-US" sz="1100" b="1" kern="0" dirty="0">
                <a:solidFill>
                  <a:prstClr val="white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　</a:t>
            </a:r>
          </a:p>
        </p:txBody>
      </p:sp>
      <p:sp>
        <p:nvSpPr>
          <p:cNvPr id="216" name="左右矢印 18">
            <a:extLst>
              <a:ext uri="{FF2B5EF4-FFF2-40B4-BE49-F238E27FC236}">
                <a16:creationId xmlns:a16="http://schemas.microsoft.com/office/drawing/2014/main" id="{70044C58-084B-4167-A3C0-9A40728C812D}"/>
              </a:ext>
            </a:extLst>
          </p:cNvPr>
          <p:cNvSpPr>
            <a:spLocks noChangeArrowheads="1"/>
          </p:cNvSpPr>
          <p:nvPr/>
        </p:nvSpPr>
        <p:spPr bwMode="auto">
          <a:xfrm rot="18568397">
            <a:off x="2461628" y="3608938"/>
            <a:ext cx="1709436" cy="373366"/>
          </a:xfrm>
          <a:prstGeom prst="leftRightArrow">
            <a:avLst>
              <a:gd name="adj1" fmla="val 39102"/>
              <a:gd name="adj2" fmla="val 56794"/>
            </a:avLst>
          </a:prstGeom>
          <a:solidFill>
            <a:sysClr val="window" lastClr="FFFFFF">
              <a:lumMod val="50000"/>
            </a:sysClr>
          </a:solidFill>
          <a:ln w="19050" algn="ctr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ja-JP" altLang="en-US" sz="1050" kern="0" dirty="0">
              <a:solidFill>
                <a:srgbClr val="FFFFFF"/>
              </a:solidFill>
              <a:latin typeface="Arial" panose="020B0604020202020204" pitchFamily="34" charset="0"/>
              <a:ea typeface="UD Digi Kyokasho N-B" panose="02020700000000000000" pitchFamily="17" charset="-128"/>
              <a:cs typeface="Arial" panose="020B0604020202020204" pitchFamily="34" charset="0"/>
            </a:endParaRPr>
          </a:p>
        </p:txBody>
      </p:sp>
      <p:pic>
        <p:nvPicPr>
          <p:cNvPr id="217" name="Picture 6" descr="X:\ConMas開発\i-Reporter 開発\i-Reporter 業務フロー\PDFファイル.png">
            <a:extLst>
              <a:ext uri="{FF2B5EF4-FFF2-40B4-BE49-F238E27FC236}">
                <a16:creationId xmlns:a16="http://schemas.microsoft.com/office/drawing/2014/main" id="{BF915924-7C00-42C3-9D5E-B416F07833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113" y="1883500"/>
            <a:ext cx="515916" cy="471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" name="図 217">
            <a:extLst>
              <a:ext uri="{FF2B5EF4-FFF2-40B4-BE49-F238E27FC236}">
                <a16:creationId xmlns:a16="http://schemas.microsoft.com/office/drawing/2014/main" id="{B3E762D9-9378-4418-BBBC-FC25EF1703A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92" y="4259399"/>
            <a:ext cx="1374929" cy="1968424"/>
          </a:xfrm>
          <a:prstGeom prst="rect">
            <a:avLst/>
          </a:prstGeom>
        </p:spPr>
      </p:pic>
      <p:grpSp>
        <p:nvGrpSpPr>
          <p:cNvPr id="219" name="グループ化 218">
            <a:extLst>
              <a:ext uri="{FF2B5EF4-FFF2-40B4-BE49-F238E27FC236}">
                <a16:creationId xmlns:a16="http://schemas.microsoft.com/office/drawing/2014/main" id="{3095BF23-8790-4B0A-B39D-F4CA4953D8D4}"/>
              </a:ext>
            </a:extLst>
          </p:cNvPr>
          <p:cNvGrpSpPr/>
          <p:nvPr/>
        </p:nvGrpSpPr>
        <p:grpSpPr>
          <a:xfrm>
            <a:off x="958701" y="3793837"/>
            <a:ext cx="1735793" cy="415353"/>
            <a:chOff x="510435" y="1385538"/>
            <a:chExt cx="4956671" cy="1186068"/>
          </a:xfrm>
        </p:grpSpPr>
        <p:grpSp>
          <p:nvGrpSpPr>
            <p:cNvPr id="220" name="グループ化 219">
              <a:extLst>
                <a:ext uri="{FF2B5EF4-FFF2-40B4-BE49-F238E27FC236}">
                  <a16:creationId xmlns:a16="http://schemas.microsoft.com/office/drawing/2014/main" id="{9BB5F4FE-5579-4BEB-AE35-457AE0EA9A07}"/>
                </a:ext>
              </a:extLst>
            </p:cNvPr>
            <p:cNvGrpSpPr/>
            <p:nvPr/>
          </p:nvGrpSpPr>
          <p:grpSpPr>
            <a:xfrm>
              <a:off x="2060601" y="1691709"/>
              <a:ext cx="3406505" cy="684056"/>
              <a:chOff x="2060601" y="3142137"/>
              <a:chExt cx="3406505" cy="684056"/>
            </a:xfrm>
          </p:grpSpPr>
          <p:sp>
            <p:nvSpPr>
              <p:cNvPr id="231" name="フリーフォーム: 図形 230">
                <a:extLst>
                  <a:ext uri="{FF2B5EF4-FFF2-40B4-BE49-F238E27FC236}">
                    <a16:creationId xmlns:a16="http://schemas.microsoft.com/office/drawing/2014/main" id="{60E111F3-2063-4062-A06E-BDFC9917D7D1}"/>
                  </a:ext>
                </a:extLst>
              </p:cNvPr>
              <p:cNvSpPr/>
              <p:nvPr/>
            </p:nvSpPr>
            <p:spPr>
              <a:xfrm>
                <a:off x="2060601" y="3142137"/>
                <a:ext cx="126881" cy="554417"/>
              </a:xfrm>
              <a:custGeom>
                <a:avLst/>
                <a:gdLst>
                  <a:gd name="connsiteX0" fmla="*/ 126882 w 126881"/>
                  <a:gd name="connsiteY0" fmla="*/ 60683 h 554417"/>
                  <a:gd name="connsiteX1" fmla="*/ 63441 w 126881"/>
                  <a:gd name="connsiteY1" fmla="*/ 121365 h 554417"/>
                  <a:gd name="connsiteX2" fmla="*/ 0 w 126881"/>
                  <a:gd name="connsiteY2" fmla="*/ 60683 h 554417"/>
                  <a:gd name="connsiteX3" fmla="*/ 63441 w 126881"/>
                  <a:gd name="connsiteY3" fmla="*/ 0 h 554417"/>
                  <a:gd name="connsiteX4" fmla="*/ 126882 w 126881"/>
                  <a:gd name="connsiteY4" fmla="*/ 60683 h 554417"/>
                  <a:gd name="connsiteX5" fmla="*/ 110332 w 126881"/>
                  <a:gd name="connsiteY5" fmla="*/ 554418 h 554417"/>
                  <a:gd name="connsiteX6" fmla="*/ 11033 w 126881"/>
                  <a:gd name="connsiteY6" fmla="*/ 554418 h 554417"/>
                  <a:gd name="connsiteX7" fmla="*/ 11033 w 126881"/>
                  <a:gd name="connsiteY7" fmla="*/ 193081 h 554417"/>
                  <a:gd name="connsiteX8" fmla="*/ 110332 w 126881"/>
                  <a:gd name="connsiteY8" fmla="*/ 193081 h 554417"/>
                  <a:gd name="connsiteX9" fmla="*/ 110332 w 126881"/>
                  <a:gd name="connsiteY9" fmla="*/ 554418 h 554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881" h="554417">
                    <a:moveTo>
                      <a:pt x="126882" y="60683"/>
                    </a:moveTo>
                    <a:cubicBezTo>
                      <a:pt x="126882" y="93782"/>
                      <a:pt x="99299" y="121365"/>
                      <a:pt x="63441" y="121365"/>
                    </a:cubicBezTo>
                    <a:cubicBezTo>
                      <a:pt x="27583" y="121365"/>
                      <a:pt x="0" y="93782"/>
                      <a:pt x="0" y="60683"/>
                    </a:cubicBezTo>
                    <a:cubicBezTo>
                      <a:pt x="0" y="24825"/>
                      <a:pt x="27583" y="0"/>
                      <a:pt x="63441" y="0"/>
                    </a:cubicBezTo>
                    <a:cubicBezTo>
                      <a:pt x="96541" y="0"/>
                      <a:pt x="126882" y="24825"/>
                      <a:pt x="126882" y="60683"/>
                    </a:cubicBezTo>
                    <a:moveTo>
                      <a:pt x="110332" y="554418"/>
                    </a:moveTo>
                    <a:lnTo>
                      <a:pt x="11033" y="554418"/>
                    </a:lnTo>
                    <a:lnTo>
                      <a:pt x="11033" y="193081"/>
                    </a:lnTo>
                    <a:lnTo>
                      <a:pt x="110332" y="193081"/>
                    </a:lnTo>
                    <a:lnTo>
                      <a:pt x="110332" y="554418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2" name="フリーフォーム: 図形 231">
                <a:extLst>
                  <a:ext uri="{FF2B5EF4-FFF2-40B4-BE49-F238E27FC236}">
                    <a16:creationId xmlns:a16="http://schemas.microsoft.com/office/drawing/2014/main" id="{E836EE53-6532-4AD8-B6ED-688AF1C4CF56}"/>
                  </a:ext>
                </a:extLst>
              </p:cNvPr>
              <p:cNvSpPr/>
              <p:nvPr/>
            </p:nvSpPr>
            <p:spPr>
              <a:xfrm>
                <a:off x="2248166" y="3420725"/>
                <a:ext cx="184806" cy="82748"/>
              </a:xfrm>
              <a:custGeom>
                <a:avLst/>
                <a:gdLst>
                  <a:gd name="connsiteX0" fmla="*/ 0 w 184806"/>
                  <a:gd name="connsiteY0" fmla="*/ 0 h 82748"/>
                  <a:gd name="connsiteX1" fmla="*/ 184806 w 184806"/>
                  <a:gd name="connsiteY1" fmla="*/ 0 h 82748"/>
                  <a:gd name="connsiteX2" fmla="*/ 184806 w 184806"/>
                  <a:gd name="connsiteY2" fmla="*/ 82749 h 82748"/>
                  <a:gd name="connsiteX3" fmla="*/ 0 w 184806"/>
                  <a:gd name="connsiteY3" fmla="*/ 82749 h 82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4806" h="82748">
                    <a:moveTo>
                      <a:pt x="0" y="0"/>
                    </a:moveTo>
                    <a:lnTo>
                      <a:pt x="184806" y="0"/>
                    </a:lnTo>
                    <a:lnTo>
                      <a:pt x="184806" y="82749"/>
                    </a:lnTo>
                    <a:lnTo>
                      <a:pt x="0" y="82749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3" name="フリーフォーム: 図形 232">
                <a:extLst>
                  <a:ext uri="{FF2B5EF4-FFF2-40B4-BE49-F238E27FC236}">
                    <a16:creationId xmlns:a16="http://schemas.microsoft.com/office/drawing/2014/main" id="{6642E434-7DF7-4477-8C47-62231589C88F}"/>
                  </a:ext>
                </a:extLst>
              </p:cNvPr>
              <p:cNvSpPr/>
              <p:nvPr/>
            </p:nvSpPr>
            <p:spPr>
              <a:xfrm>
                <a:off x="2521238" y="3213852"/>
                <a:ext cx="405470" cy="482702"/>
              </a:xfrm>
              <a:custGeom>
                <a:avLst/>
                <a:gdLst>
                  <a:gd name="connsiteX0" fmla="*/ 297897 w 405470"/>
                  <a:gd name="connsiteY0" fmla="*/ 482702 h 482702"/>
                  <a:gd name="connsiteX1" fmla="*/ 171015 w 405470"/>
                  <a:gd name="connsiteY1" fmla="*/ 311688 h 482702"/>
                  <a:gd name="connsiteX2" fmla="*/ 99299 w 405470"/>
                  <a:gd name="connsiteY2" fmla="*/ 311688 h 482702"/>
                  <a:gd name="connsiteX3" fmla="*/ 99299 w 405470"/>
                  <a:gd name="connsiteY3" fmla="*/ 482702 h 482702"/>
                  <a:gd name="connsiteX4" fmla="*/ 0 w 405470"/>
                  <a:gd name="connsiteY4" fmla="*/ 482702 h 482702"/>
                  <a:gd name="connsiteX5" fmla="*/ 0 w 405470"/>
                  <a:gd name="connsiteY5" fmla="*/ 0 h 482702"/>
                  <a:gd name="connsiteX6" fmla="*/ 182048 w 405470"/>
                  <a:gd name="connsiteY6" fmla="*/ 0 h 482702"/>
                  <a:gd name="connsiteX7" fmla="*/ 355821 w 405470"/>
                  <a:gd name="connsiteY7" fmla="*/ 154465 h 482702"/>
                  <a:gd name="connsiteX8" fmla="*/ 270314 w 405470"/>
                  <a:gd name="connsiteY8" fmla="*/ 289621 h 482702"/>
                  <a:gd name="connsiteX9" fmla="*/ 405471 w 405470"/>
                  <a:gd name="connsiteY9" fmla="*/ 479944 h 482702"/>
                  <a:gd name="connsiteX10" fmla="*/ 297897 w 405470"/>
                  <a:gd name="connsiteY10" fmla="*/ 479944 h 482702"/>
                  <a:gd name="connsiteX11" fmla="*/ 99299 w 405470"/>
                  <a:gd name="connsiteY11" fmla="*/ 226180 h 482702"/>
                  <a:gd name="connsiteX12" fmla="*/ 182048 w 405470"/>
                  <a:gd name="connsiteY12" fmla="*/ 226180 h 482702"/>
                  <a:gd name="connsiteX13" fmla="*/ 253764 w 405470"/>
                  <a:gd name="connsiteY13" fmla="*/ 157223 h 482702"/>
                  <a:gd name="connsiteX14" fmla="*/ 182048 w 405470"/>
                  <a:gd name="connsiteY14" fmla="*/ 88266 h 482702"/>
                  <a:gd name="connsiteX15" fmla="*/ 99299 w 405470"/>
                  <a:gd name="connsiteY15" fmla="*/ 88266 h 482702"/>
                  <a:gd name="connsiteX16" fmla="*/ 99299 w 405470"/>
                  <a:gd name="connsiteY16" fmla="*/ 226180 h 482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5470" h="482702">
                    <a:moveTo>
                      <a:pt x="297897" y="482702"/>
                    </a:moveTo>
                    <a:lnTo>
                      <a:pt x="171015" y="311688"/>
                    </a:lnTo>
                    <a:lnTo>
                      <a:pt x="99299" y="311688"/>
                    </a:lnTo>
                    <a:lnTo>
                      <a:pt x="99299" y="482702"/>
                    </a:lnTo>
                    <a:lnTo>
                      <a:pt x="0" y="482702"/>
                    </a:lnTo>
                    <a:lnTo>
                      <a:pt x="0" y="0"/>
                    </a:lnTo>
                    <a:lnTo>
                      <a:pt x="182048" y="0"/>
                    </a:lnTo>
                    <a:cubicBezTo>
                      <a:pt x="284105" y="0"/>
                      <a:pt x="355821" y="60683"/>
                      <a:pt x="355821" y="154465"/>
                    </a:cubicBezTo>
                    <a:cubicBezTo>
                      <a:pt x="355821" y="215147"/>
                      <a:pt x="322721" y="264797"/>
                      <a:pt x="270314" y="289621"/>
                    </a:cubicBezTo>
                    <a:lnTo>
                      <a:pt x="405471" y="479944"/>
                    </a:lnTo>
                    <a:lnTo>
                      <a:pt x="297897" y="479944"/>
                    </a:lnTo>
                    <a:close/>
                    <a:moveTo>
                      <a:pt x="99299" y="226180"/>
                    </a:moveTo>
                    <a:lnTo>
                      <a:pt x="182048" y="226180"/>
                    </a:lnTo>
                    <a:cubicBezTo>
                      <a:pt x="228939" y="226180"/>
                      <a:pt x="253764" y="198597"/>
                      <a:pt x="253764" y="157223"/>
                    </a:cubicBezTo>
                    <a:cubicBezTo>
                      <a:pt x="253764" y="115849"/>
                      <a:pt x="226181" y="88266"/>
                      <a:pt x="182048" y="88266"/>
                    </a:cubicBezTo>
                    <a:lnTo>
                      <a:pt x="99299" y="88266"/>
                    </a:lnTo>
                    <a:lnTo>
                      <a:pt x="99299" y="226180"/>
                    </a:lnTo>
                    <a:close/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4" name="フリーフォーム: 図形 233">
                <a:extLst>
                  <a:ext uri="{FF2B5EF4-FFF2-40B4-BE49-F238E27FC236}">
                    <a16:creationId xmlns:a16="http://schemas.microsoft.com/office/drawing/2014/main" id="{7F9789A0-AF0C-4D6B-8FC2-C34FBFBA7AB0}"/>
                  </a:ext>
                </a:extLst>
              </p:cNvPr>
              <p:cNvSpPr/>
              <p:nvPr/>
            </p:nvSpPr>
            <p:spPr>
              <a:xfrm>
                <a:off x="2946017" y="3324184"/>
                <a:ext cx="361337" cy="380645"/>
              </a:xfrm>
              <a:custGeom>
                <a:avLst/>
                <a:gdLst>
                  <a:gd name="connsiteX0" fmla="*/ 350305 w 361337"/>
                  <a:gd name="connsiteY0" fmla="*/ 223422 h 380645"/>
                  <a:gd name="connsiteX1" fmla="*/ 96541 w 361337"/>
                  <a:gd name="connsiteY1" fmla="*/ 223422 h 380645"/>
                  <a:gd name="connsiteX2" fmla="*/ 198598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8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8 w 361337"/>
                  <a:gd name="connsiteY8" fmla="*/ 168256 h 380645"/>
                  <a:gd name="connsiteX9" fmla="*/ 350305 w 361337"/>
                  <a:gd name="connsiteY9" fmla="*/ 223422 h 380645"/>
                  <a:gd name="connsiteX10" fmla="*/ 93782 w 361337"/>
                  <a:gd name="connsiteY10" fmla="*/ 154465 h 380645"/>
                  <a:gd name="connsiteX11" fmla="*/ 259280 w 361337"/>
                  <a:gd name="connsiteY11" fmla="*/ 154465 h 380645"/>
                  <a:gd name="connsiteX12" fmla="*/ 182048 w 361337"/>
                  <a:gd name="connsiteY12" fmla="*/ 82749 h 380645"/>
                  <a:gd name="connsiteX13" fmla="*/ 93782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0305" y="223422"/>
                    </a:moveTo>
                    <a:lnTo>
                      <a:pt x="96541" y="223422"/>
                    </a:lnTo>
                    <a:cubicBezTo>
                      <a:pt x="107574" y="270313"/>
                      <a:pt x="146190" y="295138"/>
                      <a:pt x="198598" y="295138"/>
                    </a:cubicBezTo>
                    <a:cubicBezTo>
                      <a:pt x="237214" y="295138"/>
                      <a:pt x="270314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4" y="380645"/>
                      <a:pt x="198598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8" y="74474"/>
                      <a:pt x="361338" y="168256"/>
                    </a:cubicBezTo>
                    <a:cubicBezTo>
                      <a:pt x="355821" y="190323"/>
                      <a:pt x="353063" y="212389"/>
                      <a:pt x="350305" y="223422"/>
                    </a:cubicBezTo>
                    <a:moveTo>
                      <a:pt x="93782" y="154465"/>
                    </a:moveTo>
                    <a:lnTo>
                      <a:pt x="259280" y="154465"/>
                    </a:lnTo>
                    <a:cubicBezTo>
                      <a:pt x="259280" y="107574"/>
                      <a:pt x="223423" y="82749"/>
                      <a:pt x="182048" y="82749"/>
                    </a:cubicBezTo>
                    <a:cubicBezTo>
                      <a:pt x="140673" y="82749"/>
                      <a:pt x="107574" y="110332"/>
                      <a:pt x="93782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5" name="フリーフォーム: 図形 234">
                <a:extLst>
                  <a:ext uri="{FF2B5EF4-FFF2-40B4-BE49-F238E27FC236}">
                    <a16:creationId xmlns:a16="http://schemas.microsoft.com/office/drawing/2014/main" id="{42FE8DBE-70D2-4472-B643-739E3FF1AC88}"/>
                  </a:ext>
                </a:extLst>
              </p:cNvPr>
              <p:cNvSpPr/>
              <p:nvPr/>
            </p:nvSpPr>
            <p:spPr>
              <a:xfrm>
                <a:off x="3370795" y="3326942"/>
                <a:ext cx="383404" cy="499251"/>
              </a:xfrm>
              <a:custGeom>
                <a:avLst/>
                <a:gdLst>
                  <a:gd name="connsiteX0" fmla="*/ 383404 w 383404"/>
                  <a:gd name="connsiteY0" fmla="*/ 187564 h 499251"/>
                  <a:gd name="connsiteX1" fmla="*/ 206873 w 383404"/>
                  <a:gd name="connsiteY1" fmla="*/ 377887 h 499251"/>
                  <a:gd name="connsiteX2" fmla="*/ 99299 w 383404"/>
                  <a:gd name="connsiteY2" fmla="*/ 333754 h 499251"/>
                  <a:gd name="connsiteX3" fmla="*/ 99299 w 383404"/>
                  <a:gd name="connsiteY3" fmla="*/ 499252 h 499251"/>
                  <a:gd name="connsiteX4" fmla="*/ 0 w 383404"/>
                  <a:gd name="connsiteY4" fmla="*/ 499252 h 499251"/>
                  <a:gd name="connsiteX5" fmla="*/ 0 w 383404"/>
                  <a:gd name="connsiteY5" fmla="*/ 8275 h 499251"/>
                  <a:gd name="connsiteX6" fmla="*/ 91024 w 383404"/>
                  <a:gd name="connsiteY6" fmla="*/ 8275 h 499251"/>
                  <a:gd name="connsiteX7" fmla="*/ 91024 w 383404"/>
                  <a:gd name="connsiteY7" fmla="*/ 52408 h 499251"/>
                  <a:gd name="connsiteX8" fmla="*/ 206873 w 383404"/>
                  <a:gd name="connsiteY8" fmla="*/ 0 h 499251"/>
                  <a:gd name="connsiteX9" fmla="*/ 383404 w 383404"/>
                  <a:gd name="connsiteY9" fmla="*/ 187564 h 499251"/>
                  <a:gd name="connsiteX10" fmla="*/ 281347 w 383404"/>
                  <a:gd name="connsiteY10" fmla="*/ 187564 h 499251"/>
                  <a:gd name="connsiteX11" fmla="*/ 187565 w 383404"/>
                  <a:gd name="connsiteY11" fmla="*/ 88266 h 499251"/>
                  <a:gd name="connsiteX12" fmla="*/ 96541 w 383404"/>
                  <a:gd name="connsiteY12" fmla="*/ 187564 h 499251"/>
                  <a:gd name="connsiteX13" fmla="*/ 187565 w 383404"/>
                  <a:gd name="connsiteY13" fmla="*/ 286863 h 499251"/>
                  <a:gd name="connsiteX14" fmla="*/ 281347 w 383404"/>
                  <a:gd name="connsiteY14" fmla="*/ 187564 h 499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3404" h="499251">
                    <a:moveTo>
                      <a:pt x="383404" y="187564"/>
                    </a:moveTo>
                    <a:cubicBezTo>
                      <a:pt x="383404" y="295138"/>
                      <a:pt x="311688" y="377887"/>
                      <a:pt x="206873" y="377887"/>
                    </a:cubicBezTo>
                    <a:cubicBezTo>
                      <a:pt x="162740" y="377887"/>
                      <a:pt x="124124" y="361337"/>
                      <a:pt x="99299" y="333754"/>
                    </a:cubicBezTo>
                    <a:lnTo>
                      <a:pt x="99299" y="499252"/>
                    </a:lnTo>
                    <a:lnTo>
                      <a:pt x="0" y="499252"/>
                    </a:lnTo>
                    <a:lnTo>
                      <a:pt x="0" y="8275"/>
                    </a:lnTo>
                    <a:lnTo>
                      <a:pt x="91024" y="8275"/>
                    </a:lnTo>
                    <a:lnTo>
                      <a:pt x="91024" y="52408"/>
                    </a:lnTo>
                    <a:cubicBezTo>
                      <a:pt x="115849" y="19308"/>
                      <a:pt x="157223" y="0"/>
                      <a:pt x="206873" y="0"/>
                    </a:cubicBezTo>
                    <a:cubicBezTo>
                      <a:pt x="308930" y="0"/>
                      <a:pt x="383404" y="79991"/>
                      <a:pt x="383404" y="187564"/>
                    </a:cubicBezTo>
                    <a:moveTo>
                      <a:pt x="281347" y="187564"/>
                    </a:moveTo>
                    <a:cubicBezTo>
                      <a:pt x="281347" y="126882"/>
                      <a:pt x="239973" y="88266"/>
                      <a:pt x="187565" y="88266"/>
                    </a:cubicBezTo>
                    <a:cubicBezTo>
                      <a:pt x="143432" y="88266"/>
                      <a:pt x="96541" y="118607"/>
                      <a:pt x="96541" y="187564"/>
                    </a:cubicBezTo>
                    <a:cubicBezTo>
                      <a:pt x="96541" y="256522"/>
                      <a:pt x="140674" y="286863"/>
                      <a:pt x="187565" y="286863"/>
                    </a:cubicBezTo>
                    <a:cubicBezTo>
                      <a:pt x="239973" y="286863"/>
                      <a:pt x="281347" y="251005"/>
                      <a:pt x="281347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6" name="フリーフォーム: 図形 235">
                <a:extLst>
                  <a:ext uri="{FF2B5EF4-FFF2-40B4-BE49-F238E27FC236}">
                    <a16:creationId xmlns:a16="http://schemas.microsoft.com/office/drawing/2014/main" id="{5FA2B084-9E1B-4481-BFD8-A4707F26DC02}"/>
                  </a:ext>
                </a:extLst>
              </p:cNvPr>
              <p:cNvSpPr/>
              <p:nvPr/>
            </p:nvSpPr>
            <p:spPr>
              <a:xfrm>
                <a:off x="3801091" y="3326942"/>
                <a:ext cx="388920" cy="377886"/>
              </a:xfrm>
              <a:custGeom>
                <a:avLst/>
                <a:gdLst>
                  <a:gd name="connsiteX0" fmla="*/ 388921 w 388920"/>
                  <a:gd name="connsiteY0" fmla="*/ 187564 h 377886"/>
                  <a:gd name="connsiteX1" fmla="*/ 193081 w 388920"/>
                  <a:gd name="connsiteY1" fmla="*/ 377887 h 377886"/>
                  <a:gd name="connsiteX2" fmla="*/ 0 w 388920"/>
                  <a:gd name="connsiteY2" fmla="*/ 187564 h 377886"/>
                  <a:gd name="connsiteX3" fmla="*/ 193081 w 388920"/>
                  <a:gd name="connsiteY3" fmla="*/ 0 h 377886"/>
                  <a:gd name="connsiteX4" fmla="*/ 388921 w 388920"/>
                  <a:gd name="connsiteY4" fmla="*/ 187564 h 377886"/>
                  <a:gd name="connsiteX5" fmla="*/ 99299 w 388920"/>
                  <a:gd name="connsiteY5" fmla="*/ 187564 h 377886"/>
                  <a:gd name="connsiteX6" fmla="*/ 193081 w 388920"/>
                  <a:gd name="connsiteY6" fmla="*/ 284105 h 377886"/>
                  <a:gd name="connsiteX7" fmla="*/ 286863 w 388920"/>
                  <a:gd name="connsiteY7" fmla="*/ 187564 h 377886"/>
                  <a:gd name="connsiteX8" fmla="*/ 193081 w 388920"/>
                  <a:gd name="connsiteY8" fmla="*/ 88266 h 377886"/>
                  <a:gd name="connsiteX9" fmla="*/ 99299 w 388920"/>
                  <a:gd name="connsiteY9" fmla="*/ 187564 h 377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920" h="377886">
                    <a:moveTo>
                      <a:pt x="388921" y="187564"/>
                    </a:moveTo>
                    <a:cubicBezTo>
                      <a:pt x="388921" y="295138"/>
                      <a:pt x="300655" y="377887"/>
                      <a:pt x="193081" y="377887"/>
                    </a:cubicBezTo>
                    <a:cubicBezTo>
                      <a:pt x="85507" y="377887"/>
                      <a:pt x="0" y="295138"/>
                      <a:pt x="0" y="187564"/>
                    </a:cubicBezTo>
                    <a:cubicBezTo>
                      <a:pt x="0" y="79991"/>
                      <a:pt x="85507" y="0"/>
                      <a:pt x="193081" y="0"/>
                    </a:cubicBezTo>
                    <a:cubicBezTo>
                      <a:pt x="300655" y="0"/>
                      <a:pt x="388921" y="79991"/>
                      <a:pt x="388921" y="187564"/>
                    </a:cubicBezTo>
                    <a:moveTo>
                      <a:pt x="99299" y="187564"/>
                    </a:moveTo>
                    <a:cubicBezTo>
                      <a:pt x="99299" y="245489"/>
                      <a:pt x="137915" y="284105"/>
                      <a:pt x="193081" y="284105"/>
                    </a:cubicBezTo>
                    <a:cubicBezTo>
                      <a:pt x="245489" y="284105"/>
                      <a:pt x="286863" y="242730"/>
                      <a:pt x="286863" y="187564"/>
                    </a:cubicBezTo>
                    <a:cubicBezTo>
                      <a:pt x="286863" y="129640"/>
                      <a:pt x="245489" y="88266"/>
                      <a:pt x="193081" y="88266"/>
                    </a:cubicBezTo>
                    <a:cubicBezTo>
                      <a:pt x="137915" y="88266"/>
                      <a:pt x="99299" y="132398"/>
                      <a:pt x="99299" y="187564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7" name="フリーフォーム: 図形 236">
                <a:extLst>
                  <a:ext uri="{FF2B5EF4-FFF2-40B4-BE49-F238E27FC236}">
                    <a16:creationId xmlns:a16="http://schemas.microsoft.com/office/drawing/2014/main" id="{736834EC-EB87-4FCF-B918-621D5C3DAFCE}"/>
                  </a:ext>
                </a:extLst>
              </p:cNvPr>
              <p:cNvSpPr/>
              <p:nvPr/>
            </p:nvSpPr>
            <p:spPr>
              <a:xfrm>
                <a:off x="4239661" y="3331317"/>
                <a:ext cx="223422" cy="362479"/>
              </a:xfrm>
              <a:custGeom>
                <a:avLst/>
                <a:gdLst>
                  <a:gd name="connsiteX0" fmla="*/ 223423 w 223422"/>
                  <a:gd name="connsiteY0" fmla="*/ 3901 h 362479"/>
                  <a:gd name="connsiteX1" fmla="*/ 223423 w 223422"/>
                  <a:gd name="connsiteY1" fmla="*/ 89408 h 362479"/>
                  <a:gd name="connsiteX2" fmla="*/ 195840 w 223422"/>
                  <a:gd name="connsiteY2" fmla="*/ 89408 h 362479"/>
                  <a:gd name="connsiteX3" fmla="*/ 99299 w 223422"/>
                  <a:gd name="connsiteY3" fmla="*/ 183190 h 362479"/>
                  <a:gd name="connsiteX4" fmla="*/ 99299 w 223422"/>
                  <a:gd name="connsiteY4" fmla="*/ 362480 h 362479"/>
                  <a:gd name="connsiteX5" fmla="*/ 0 w 223422"/>
                  <a:gd name="connsiteY5" fmla="*/ 362480 h 362479"/>
                  <a:gd name="connsiteX6" fmla="*/ 0 w 223422"/>
                  <a:gd name="connsiteY6" fmla="*/ 3901 h 362479"/>
                  <a:gd name="connsiteX7" fmla="*/ 91024 w 223422"/>
                  <a:gd name="connsiteY7" fmla="*/ 3901 h 362479"/>
                  <a:gd name="connsiteX8" fmla="*/ 91024 w 223422"/>
                  <a:gd name="connsiteY8" fmla="*/ 48034 h 362479"/>
                  <a:gd name="connsiteX9" fmla="*/ 190323 w 223422"/>
                  <a:gd name="connsiteY9" fmla="*/ 1143 h 362479"/>
                  <a:gd name="connsiteX10" fmla="*/ 223423 w 223422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2" h="362479">
                    <a:moveTo>
                      <a:pt x="223423" y="3901"/>
                    </a:moveTo>
                    <a:lnTo>
                      <a:pt x="223423" y="89408"/>
                    </a:lnTo>
                    <a:lnTo>
                      <a:pt x="195840" y="89408"/>
                    </a:lnTo>
                    <a:cubicBezTo>
                      <a:pt x="137915" y="89408"/>
                      <a:pt x="99299" y="119749"/>
                      <a:pt x="99299" y="183190"/>
                    </a:cubicBezTo>
                    <a:lnTo>
                      <a:pt x="99299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9" y="17692"/>
                      <a:pt x="151707" y="1143"/>
                      <a:pt x="190323" y="1143"/>
                    </a:cubicBezTo>
                    <a:cubicBezTo>
                      <a:pt x="206873" y="-1616"/>
                      <a:pt x="215148" y="1143"/>
                      <a:pt x="223423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8" name="フリーフォーム: 図形 237">
                <a:extLst>
                  <a:ext uri="{FF2B5EF4-FFF2-40B4-BE49-F238E27FC236}">
                    <a16:creationId xmlns:a16="http://schemas.microsoft.com/office/drawing/2014/main" id="{418FCAFA-89EA-44CB-8DEA-6F0EE5043891}"/>
                  </a:ext>
                </a:extLst>
              </p:cNvPr>
              <p:cNvSpPr/>
              <p:nvPr/>
            </p:nvSpPr>
            <p:spPr>
              <a:xfrm>
                <a:off x="4509975" y="3244194"/>
                <a:ext cx="270313" cy="460635"/>
              </a:xfrm>
              <a:custGeom>
                <a:avLst/>
                <a:gdLst>
                  <a:gd name="connsiteX0" fmla="*/ 270314 w 270313"/>
                  <a:gd name="connsiteY0" fmla="*/ 369612 h 460635"/>
                  <a:gd name="connsiteX1" fmla="*/ 270314 w 270313"/>
                  <a:gd name="connsiteY1" fmla="*/ 452361 h 460635"/>
                  <a:gd name="connsiteX2" fmla="*/ 201356 w 270313"/>
                  <a:gd name="connsiteY2" fmla="*/ 460636 h 460635"/>
                  <a:gd name="connsiteX3" fmla="*/ 57925 w 270313"/>
                  <a:gd name="connsiteY3" fmla="*/ 325479 h 460635"/>
                  <a:gd name="connsiteX4" fmla="*/ 57925 w 270313"/>
                  <a:gd name="connsiteY4" fmla="*/ 173773 h 460635"/>
                  <a:gd name="connsiteX5" fmla="*/ 0 w 270313"/>
                  <a:gd name="connsiteY5" fmla="*/ 173773 h 460635"/>
                  <a:gd name="connsiteX6" fmla="*/ 0 w 270313"/>
                  <a:gd name="connsiteY6" fmla="*/ 91024 h 460635"/>
                  <a:gd name="connsiteX7" fmla="*/ 57925 w 270313"/>
                  <a:gd name="connsiteY7" fmla="*/ 91024 h 460635"/>
                  <a:gd name="connsiteX8" fmla="*/ 57925 w 270313"/>
                  <a:gd name="connsiteY8" fmla="*/ 0 h 460635"/>
                  <a:gd name="connsiteX9" fmla="*/ 157223 w 270313"/>
                  <a:gd name="connsiteY9" fmla="*/ 0 h 460635"/>
                  <a:gd name="connsiteX10" fmla="*/ 157223 w 270313"/>
                  <a:gd name="connsiteY10" fmla="*/ 91024 h 460635"/>
                  <a:gd name="connsiteX11" fmla="*/ 259280 w 270313"/>
                  <a:gd name="connsiteY11" fmla="*/ 91024 h 460635"/>
                  <a:gd name="connsiteX12" fmla="*/ 259280 w 270313"/>
                  <a:gd name="connsiteY12" fmla="*/ 173773 h 460635"/>
                  <a:gd name="connsiteX13" fmla="*/ 157223 w 270313"/>
                  <a:gd name="connsiteY13" fmla="*/ 173773 h 460635"/>
                  <a:gd name="connsiteX14" fmla="*/ 157223 w 270313"/>
                  <a:gd name="connsiteY14" fmla="*/ 317204 h 460635"/>
                  <a:gd name="connsiteX15" fmla="*/ 223423 w 270313"/>
                  <a:gd name="connsiteY15" fmla="*/ 372370 h 460635"/>
                  <a:gd name="connsiteX16" fmla="*/ 270314 w 270313"/>
                  <a:gd name="connsiteY16" fmla="*/ 369612 h 460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0313" h="460635">
                    <a:moveTo>
                      <a:pt x="270314" y="369612"/>
                    </a:moveTo>
                    <a:lnTo>
                      <a:pt x="270314" y="452361"/>
                    </a:lnTo>
                    <a:cubicBezTo>
                      <a:pt x="251006" y="457877"/>
                      <a:pt x="228939" y="460636"/>
                      <a:pt x="201356" y="460636"/>
                    </a:cubicBezTo>
                    <a:cubicBezTo>
                      <a:pt x="113091" y="460636"/>
                      <a:pt x="57925" y="416503"/>
                      <a:pt x="57925" y="325479"/>
                    </a:cubicBezTo>
                    <a:lnTo>
                      <a:pt x="57925" y="173773"/>
                    </a:lnTo>
                    <a:lnTo>
                      <a:pt x="0" y="173773"/>
                    </a:lnTo>
                    <a:lnTo>
                      <a:pt x="0" y="91024"/>
                    </a:lnTo>
                    <a:lnTo>
                      <a:pt x="57925" y="91024"/>
                    </a:lnTo>
                    <a:lnTo>
                      <a:pt x="57925" y="0"/>
                    </a:lnTo>
                    <a:lnTo>
                      <a:pt x="157223" y="0"/>
                    </a:lnTo>
                    <a:lnTo>
                      <a:pt x="157223" y="91024"/>
                    </a:lnTo>
                    <a:lnTo>
                      <a:pt x="259280" y="91024"/>
                    </a:lnTo>
                    <a:lnTo>
                      <a:pt x="259280" y="173773"/>
                    </a:lnTo>
                    <a:lnTo>
                      <a:pt x="157223" y="173773"/>
                    </a:lnTo>
                    <a:lnTo>
                      <a:pt x="157223" y="317204"/>
                    </a:lnTo>
                    <a:cubicBezTo>
                      <a:pt x="157223" y="358579"/>
                      <a:pt x="179290" y="372370"/>
                      <a:pt x="223423" y="372370"/>
                    </a:cubicBezTo>
                    <a:cubicBezTo>
                      <a:pt x="234456" y="372370"/>
                      <a:pt x="251006" y="369612"/>
                      <a:pt x="270314" y="369612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9" name="フリーフォーム: 図形 238">
                <a:extLst>
                  <a:ext uri="{FF2B5EF4-FFF2-40B4-BE49-F238E27FC236}">
                    <a16:creationId xmlns:a16="http://schemas.microsoft.com/office/drawing/2014/main" id="{6C07DE2F-CCA3-4BC6-B716-CF94FEE17954}"/>
                  </a:ext>
                </a:extLst>
              </p:cNvPr>
              <p:cNvSpPr/>
              <p:nvPr/>
            </p:nvSpPr>
            <p:spPr>
              <a:xfrm>
                <a:off x="4818905" y="3324184"/>
                <a:ext cx="361337" cy="380645"/>
              </a:xfrm>
              <a:custGeom>
                <a:avLst/>
                <a:gdLst>
                  <a:gd name="connsiteX0" fmla="*/ 350305 w 361337"/>
                  <a:gd name="connsiteY0" fmla="*/ 223422 h 380645"/>
                  <a:gd name="connsiteX1" fmla="*/ 96541 w 361337"/>
                  <a:gd name="connsiteY1" fmla="*/ 223422 h 380645"/>
                  <a:gd name="connsiteX2" fmla="*/ 198598 w 361337"/>
                  <a:gd name="connsiteY2" fmla="*/ 295138 h 380645"/>
                  <a:gd name="connsiteX3" fmla="*/ 300655 w 361337"/>
                  <a:gd name="connsiteY3" fmla="*/ 259280 h 380645"/>
                  <a:gd name="connsiteX4" fmla="*/ 342030 w 361337"/>
                  <a:gd name="connsiteY4" fmla="*/ 325479 h 380645"/>
                  <a:gd name="connsiteX5" fmla="*/ 198598 w 361337"/>
                  <a:gd name="connsiteY5" fmla="*/ 380645 h 380645"/>
                  <a:gd name="connsiteX6" fmla="*/ 0 w 361337"/>
                  <a:gd name="connsiteY6" fmla="*/ 190323 h 380645"/>
                  <a:gd name="connsiteX7" fmla="*/ 190323 w 361337"/>
                  <a:gd name="connsiteY7" fmla="*/ 0 h 380645"/>
                  <a:gd name="connsiteX8" fmla="*/ 361338 w 361337"/>
                  <a:gd name="connsiteY8" fmla="*/ 168256 h 380645"/>
                  <a:gd name="connsiteX9" fmla="*/ 350305 w 361337"/>
                  <a:gd name="connsiteY9" fmla="*/ 223422 h 380645"/>
                  <a:gd name="connsiteX10" fmla="*/ 96541 w 361337"/>
                  <a:gd name="connsiteY10" fmla="*/ 154465 h 380645"/>
                  <a:gd name="connsiteX11" fmla="*/ 262039 w 361337"/>
                  <a:gd name="connsiteY11" fmla="*/ 154465 h 380645"/>
                  <a:gd name="connsiteX12" fmla="*/ 184806 w 361337"/>
                  <a:gd name="connsiteY12" fmla="*/ 82749 h 380645"/>
                  <a:gd name="connsiteX13" fmla="*/ 96541 w 361337"/>
                  <a:gd name="connsiteY13" fmla="*/ 154465 h 38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337" h="380645">
                    <a:moveTo>
                      <a:pt x="350305" y="223422"/>
                    </a:moveTo>
                    <a:lnTo>
                      <a:pt x="96541" y="223422"/>
                    </a:lnTo>
                    <a:cubicBezTo>
                      <a:pt x="107574" y="270313"/>
                      <a:pt x="146190" y="295138"/>
                      <a:pt x="198598" y="295138"/>
                    </a:cubicBezTo>
                    <a:cubicBezTo>
                      <a:pt x="237214" y="295138"/>
                      <a:pt x="270314" y="281346"/>
                      <a:pt x="300655" y="259280"/>
                    </a:cubicBezTo>
                    <a:lnTo>
                      <a:pt x="342030" y="325479"/>
                    </a:lnTo>
                    <a:cubicBezTo>
                      <a:pt x="300655" y="358579"/>
                      <a:pt x="253764" y="380645"/>
                      <a:pt x="198598" y="380645"/>
                    </a:cubicBezTo>
                    <a:cubicBezTo>
                      <a:pt x="82749" y="380645"/>
                      <a:pt x="0" y="297896"/>
                      <a:pt x="0" y="190323"/>
                    </a:cubicBezTo>
                    <a:cubicBezTo>
                      <a:pt x="0" y="82749"/>
                      <a:pt x="82749" y="0"/>
                      <a:pt x="190323" y="0"/>
                    </a:cubicBezTo>
                    <a:cubicBezTo>
                      <a:pt x="292380" y="0"/>
                      <a:pt x="361338" y="74474"/>
                      <a:pt x="361338" y="168256"/>
                    </a:cubicBezTo>
                    <a:cubicBezTo>
                      <a:pt x="355821" y="190323"/>
                      <a:pt x="353063" y="212389"/>
                      <a:pt x="350305" y="223422"/>
                    </a:cubicBezTo>
                    <a:moveTo>
                      <a:pt x="96541" y="154465"/>
                    </a:moveTo>
                    <a:lnTo>
                      <a:pt x="262039" y="154465"/>
                    </a:lnTo>
                    <a:cubicBezTo>
                      <a:pt x="262039" y="107574"/>
                      <a:pt x="226181" y="82749"/>
                      <a:pt x="184806" y="82749"/>
                    </a:cubicBezTo>
                    <a:cubicBezTo>
                      <a:pt x="140674" y="82749"/>
                      <a:pt x="107574" y="110332"/>
                      <a:pt x="96541" y="154465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40" name="フリーフォーム: 図形 239">
                <a:extLst>
                  <a:ext uri="{FF2B5EF4-FFF2-40B4-BE49-F238E27FC236}">
                    <a16:creationId xmlns:a16="http://schemas.microsoft.com/office/drawing/2014/main" id="{BC2D185F-CD66-44CE-A753-1959904CFC36}"/>
                  </a:ext>
                </a:extLst>
              </p:cNvPr>
              <p:cNvSpPr/>
              <p:nvPr/>
            </p:nvSpPr>
            <p:spPr>
              <a:xfrm>
                <a:off x="5243684" y="3331317"/>
                <a:ext cx="223422" cy="362479"/>
              </a:xfrm>
              <a:custGeom>
                <a:avLst/>
                <a:gdLst>
                  <a:gd name="connsiteX0" fmla="*/ 223422 w 223422"/>
                  <a:gd name="connsiteY0" fmla="*/ 3901 h 362479"/>
                  <a:gd name="connsiteX1" fmla="*/ 223422 w 223422"/>
                  <a:gd name="connsiteY1" fmla="*/ 89408 h 362479"/>
                  <a:gd name="connsiteX2" fmla="*/ 195839 w 223422"/>
                  <a:gd name="connsiteY2" fmla="*/ 89408 h 362479"/>
                  <a:gd name="connsiteX3" fmla="*/ 99299 w 223422"/>
                  <a:gd name="connsiteY3" fmla="*/ 183190 h 362479"/>
                  <a:gd name="connsiteX4" fmla="*/ 99299 w 223422"/>
                  <a:gd name="connsiteY4" fmla="*/ 362480 h 362479"/>
                  <a:gd name="connsiteX5" fmla="*/ 0 w 223422"/>
                  <a:gd name="connsiteY5" fmla="*/ 362480 h 362479"/>
                  <a:gd name="connsiteX6" fmla="*/ 0 w 223422"/>
                  <a:gd name="connsiteY6" fmla="*/ 3901 h 362479"/>
                  <a:gd name="connsiteX7" fmla="*/ 91024 w 223422"/>
                  <a:gd name="connsiteY7" fmla="*/ 3901 h 362479"/>
                  <a:gd name="connsiteX8" fmla="*/ 91024 w 223422"/>
                  <a:gd name="connsiteY8" fmla="*/ 48034 h 362479"/>
                  <a:gd name="connsiteX9" fmla="*/ 190323 w 223422"/>
                  <a:gd name="connsiteY9" fmla="*/ 1143 h 362479"/>
                  <a:gd name="connsiteX10" fmla="*/ 223422 w 223422"/>
                  <a:gd name="connsiteY10" fmla="*/ 3901 h 36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3422" h="362479">
                    <a:moveTo>
                      <a:pt x="223422" y="3901"/>
                    </a:moveTo>
                    <a:lnTo>
                      <a:pt x="223422" y="89408"/>
                    </a:lnTo>
                    <a:lnTo>
                      <a:pt x="195839" y="89408"/>
                    </a:lnTo>
                    <a:cubicBezTo>
                      <a:pt x="137915" y="89408"/>
                      <a:pt x="99299" y="119749"/>
                      <a:pt x="99299" y="183190"/>
                    </a:cubicBezTo>
                    <a:lnTo>
                      <a:pt x="99299" y="362480"/>
                    </a:lnTo>
                    <a:lnTo>
                      <a:pt x="0" y="362480"/>
                    </a:lnTo>
                    <a:lnTo>
                      <a:pt x="0" y="3901"/>
                    </a:lnTo>
                    <a:lnTo>
                      <a:pt x="91024" y="3901"/>
                    </a:lnTo>
                    <a:lnTo>
                      <a:pt x="91024" y="48034"/>
                    </a:lnTo>
                    <a:cubicBezTo>
                      <a:pt x="115849" y="17692"/>
                      <a:pt x="151707" y="1143"/>
                      <a:pt x="190323" y="1143"/>
                    </a:cubicBezTo>
                    <a:cubicBezTo>
                      <a:pt x="204114" y="-1616"/>
                      <a:pt x="212389" y="1143"/>
                      <a:pt x="223422" y="3901"/>
                    </a:cubicBezTo>
                  </a:path>
                </a:pathLst>
              </a:custGeom>
              <a:solidFill>
                <a:srgbClr val="4C4948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21" name="グループ化 220">
              <a:extLst>
                <a:ext uri="{FF2B5EF4-FFF2-40B4-BE49-F238E27FC236}">
                  <a16:creationId xmlns:a16="http://schemas.microsoft.com/office/drawing/2014/main" id="{9BD4B901-BE9F-4342-BF13-E20A487BCC09}"/>
                </a:ext>
              </a:extLst>
            </p:cNvPr>
            <p:cNvGrpSpPr/>
            <p:nvPr/>
          </p:nvGrpSpPr>
          <p:grpSpPr>
            <a:xfrm>
              <a:off x="510435" y="1385538"/>
              <a:ext cx="1186070" cy="1186068"/>
              <a:chOff x="510435" y="2835966"/>
              <a:chExt cx="1186070" cy="1186068"/>
            </a:xfrm>
          </p:grpSpPr>
          <p:sp>
            <p:nvSpPr>
              <p:cNvPr id="222" name="フリーフォーム: 図形 221">
                <a:extLst>
                  <a:ext uri="{FF2B5EF4-FFF2-40B4-BE49-F238E27FC236}">
                    <a16:creationId xmlns:a16="http://schemas.microsoft.com/office/drawing/2014/main" id="{A2406B90-C067-43FE-9BE6-100779EA55AE}"/>
                  </a:ext>
                </a:extLst>
              </p:cNvPr>
              <p:cNvSpPr/>
              <p:nvPr/>
            </p:nvSpPr>
            <p:spPr>
              <a:xfrm>
                <a:off x="510435" y="2835966"/>
                <a:ext cx="1186070" cy="1186068"/>
              </a:xfrm>
              <a:custGeom>
                <a:avLst/>
                <a:gdLst>
                  <a:gd name="connsiteX0" fmla="*/ 855074 w 1186070"/>
                  <a:gd name="connsiteY0" fmla="*/ 1186068 h 1186068"/>
                  <a:gd name="connsiteX1" fmla="*/ 330996 w 1186070"/>
                  <a:gd name="connsiteY1" fmla="*/ 1186068 h 1186068"/>
                  <a:gd name="connsiteX2" fmla="*/ 0 w 1186070"/>
                  <a:gd name="connsiteY2" fmla="*/ 855072 h 1186068"/>
                  <a:gd name="connsiteX3" fmla="*/ 0 w 1186070"/>
                  <a:gd name="connsiteY3" fmla="*/ 330996 h 1186068"/>
                  <a:gd name="connsiteX4" fmla="*/ 330996 w 1186070"/>
                  <a:gd name="connsiteY4" fmla="*/ 0 h 1186068"/>
                  <a:gd name="connsiteX5" fmla="*/ 855074 w 1186070"/>
                  <a:gd name="connsiteY5" fmla="*/ 0 h 1186068"/>
                  <a:gd name="connsiteX6" fmla="*/ 1186071 w 1186070"/>
                  <a:gd name="connsiteY6" fmla="*/ 330996 h 1186068"/>
                  <a:gd name="connsiteX7" fmla="*/ 1186071 w 1186070"/>
                  <a:gd name="connsiteY7" fmla="*/ 855072 h 1186068"/>
                  <a:gd name="connsiteX8" fmla="*/ 855074 w 1186070"/>
                  <a:gd name="connsiteY8" fmla="*/ 1186068 h 118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6070" h="1186068">
                    <a:moveTo>
                      <a:pt x="855074" y="1186068"/>
                    </a:moveTo>
                    <a:lnTo>
                      <a:pt x="330996" y="1186068"/>
                    </a:lnTo>
                    <a:cubicBezTo>
                      <a:pt x="148948" y="1186068"/>
                      <a:pt x="0" y="1037120"/>
                      <a:pt x="0" y="855072"/>
                    </a:cubicBezTo>
                    <a:lnTo>
                      <a:pt x="0" y="330996"/>
                    </a:lnTo>
                    <a:cubicBezTo>
                      <a:pt x="0" y="148948"/>
                      <a:pt x="148948" y="0"/>
                      <a:pt x="330996" y="0"/>
                    </a:cubicBezTo>
                    <a:lnTo>
                      <a:pt x="855074" y="0"/>
                    </a:lnTo>
                    <a:cubicBezTo>
                      <a:pt x="1037122" y="0"/>
                      <a:pt x="1186071" y="148948"/>
                      <a:pt x="1186071" y="330996"/>
                    </a:cubicBezTo>
                    <a:lnTo>
                      <a:pt x="1186071" y="855072"/>
                    </a:lnTo>
                    <a:cubicBezTo>
                      <a:pt x="1186071" y="1037120"/>
                      <a:pt x="1037122" y="1186068"/>
                      <a:pt x="855074" y="1186068"/>
                    </a:cubicBezTo>
                  </a:path>
                </a:pathLst>
              </a:custGeom>
              <a:solidFill>
                <a:srgbClr val="FFFFFF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3" name="フリーフォーム: 図形 222">
                <a:extLst>
                  <a:ext uri="{FF2B5EF4-FFF2-40B4-BE49-F238E27FC236}">
                    <a16:creationId xmlns:a16="http://schemas.microsoft.com/office/drawing/2014/main" id="{B36F8672-C02C-48E9-90CD-A89E08B151DB}"/>
                  </a:ext>
                </a:extLst>
              </p:cNvPr>
              <p:cNvSpPr/>
              <p:nvPr/>
            </p:nvSpPr>
            <p:spPr>
              <a:xfrm rot="20157574">
                <a:off x="1404006" y="3091944"/>
                <a:ext cx="55168" cy="74477"/>
              </a:xfrm>
              <a:custGeom>
                <a:avLst/>
                <a:gdLst>
                  <a:gd name="connsiteX0" fmla="*/ 0 w 55168"/>
                  <a:gd name="connsiteY0" fmla="*/ 0 h 74477"/>
                  <a:gd name="connsiteX1" fmla="*/ 55169 w 55168"/>
                  <a:gd name="connsiteY1" fmla="*/ 0 h 74477"/>
                  <a:gd name="connsiteX2" fmla="*/ 55169 w 55168"/>
                  <a:gd name="connsiteY2" fmla="*/ 74477 h 74477"/>
                  <a:gd name="connsiteX3" fmla="*/ 0 w 55168"/>
                  <a:gd name="connsiteY3" fmla="*/ 74477 h 74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168" h="74477">
                    <a:moveTo>
                      <a:pt x="0" y="0"/>
                    </a:moveTo>
                    <a:lnTo>
                      <a:pt x="55169" y="0"/>
                    </a:lnTo>
                    <a:lnTo>
                      <a:pt x="55169" y="74477"/>
                    </a:lnTo>
                    <a:lnTo>
                      <a:pt x="0" y="74477"/>
                    </a:lnTo>
                    <a:close/>
                  </a:path>
                </a:pathLst>
              </a:custGeom>
              <a:solidFill>
                <a:srgbClr val="F29300"/>
              </a:solidFill>
              <a:ln w="2756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4" name="フリーフォーム: 図形 223">
                <a:extLst>
                  <a:ext uri="{FF2B5EF4-FFF2-40B4-BE49-F238E27FC236}">
                    <a16:creationId xmlns:a16="http://schemas.microsoft.com/office/drawing/2014/main" id="{4556ACA8-3625-4D1E-B471-4A29ECD6EE78}"/>
                  </a:ext>
                </a:extLst>
              </p:cNvPr>
              <p:cNvSpPr/>
              <p:nvPr/>
            </p:nvSpPr>
            <p:spPr>
              <a:xfrm>
                <a:off x="852464" y="3136508"/>
                <a:ext cx="353062" cy="132809"/>
              </a:xfrm>
              <a:custGeom>
                <a:avLst/>
                <a:gdLst>
                  <a:gd name="connsiteX0" fmla="*/ 88266 w 353062"/>
                  <a:gd name="connsiteY0" fmla="*/ 132510 h 132809"/>
                  <a:gd name="connsiteX1" fmla="*/ 104816 w 353062"/>
                  <a:gd name="connsiteY1" fmla="*/ 129752 h 132809"/>
                  <a:gd name="connsiteX2" fmla="*/ 353063 w 353062"/>
                  <a:gd name="connsiteY2" fmla="*/ 19420 h 132809"/>
                  <a:gd name="connsiteX3" fmla="*/ 330996 w 353062"/>
                  <a:gd name="connsiteY3" fmla="*/ 8387 h 132809"/>
                  <a:gd name="connsiteX4" fmla="*/ 275830 w 353062"/>
                  <a:gd name="connsiteY4" fmla="*/ 2870 h 132809"/>
                  <a:gd name="connsiteX5" fmla="*/ 35858 w 353062"/>
                  <a:gd name="connsiteY5" fmla="*/ 52519 h 132809"/>
                  <a:gd name="connsiteX6" fmla="*/ 0 w 353062"/>
                  <a:gd name="connsiteY6" fmla="*/ 69069 h 132809"/>
                  <a:gd name="connsiteX7" fmla="*/ 8275 w 353062"/>
                  <a:gd name="connsiteY7" fmla="*/ 93894 h 132809"/>
                  <a:gd name="connsiteX8" fmla="*/ 88266 w 353062"/>
                  <a:gd name="connsiteY8" fmla="*/ 132510 h 13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3062" h="132809">
                    <a:moveTo>
                      <a:pt x="88266" y="132510"/>
                    </a:moveTo>
                    <a:cubicBezTo>
                      <a:pt x="88266" y="132510"/>
                      <a:pt x="93782" y="132510"/>
                      <a:pt x="104816" y="129752"/>
                    </a:cubicBezTo>
                    <a:lnTo>
                      <a:pt x="353063" y="19420"/>
                    </a:lnTo>
                    <a:cubicBezTo>
                      <a:pt x="344788" y="16662"/>
                      <a:pt x="339271" y="13903"/>
                      <a:pt x="330996" y="8387"/>
                    </a:cubicBezTo>
                    <a:cubicBezTo>
                      <a:pt x="314447" y="112"/>
                      <a:pt x="295139" y="-2647"/>
                      <a:pt x="275830" y="2870"/>
                    </a:cubicBezTo>
                    <a:cubicBezTo>
                      <a:pt x="195840" y="22178"/>
                      <a:pt x="115849" y="47003"/>
                      <a:pt x="35858" y="52519"/>
                    </a:cubicBezTo>
                    <a:cubicBezTo>
                      <a:pt x="22066" y="52519"/>
                      <a:pt x="2758" y="52519"/>
                      <a:pt x="0" y="69069"/>
                    </a:cubicBezTo>
                    <a:cubicBezTo>
                      <a:pt x="0" y="77344"/>
                      <a:pt x="2758" y="85619"/>
                      <a:pt x="8275" y="93894"/>
                    </a:cubicBezTo>
                    <a:cubicBezTo>
                      <a:pt x="30341" y="118719"/>
                      <a:pt x="60683" y="135268"/>
                      <a:pt x="88266" y="132510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5" name="フリーフォーム: 図形 224">
                <a:extLst>
                  <a:ext uri="{FF2B5EF4-FFF2-40B4-BE49-F238E27FC236}">
                    <a16:creationId xmlns:a16="http://schemas.microsoft.com/office/drawing/2014/main" id="{E66BDAAF-860F-4892-A398-F889CA059AB2}"/>
                  </a:ext>
                </a:extLst>
              </p:cNvPr>
              <p:cNvSpPr/>
              <p:nvPr/>
            </p:nvSpPr>
            <p:spPr>
              <a:xfrm>
                <a:off x="846948" y="3302118"/>
                <a:ext cx="110332" cy="115848"/>
              </a:xfrm>
              <a:custGeom>
                <a:avLst/>
                <a:gdLst>
                  <a:gd name="connsiteX0" fmla="*/ 102057 w 110332"/>
                  <a:gd name="connsiteY0" fmla="*/ 82749 h 115848"/>
                  <a:gd name="connsiteX1" fmla="*/ 110332 w 110332"/>
                  <a:gd name="connsiteY1" fmla="*/ 0 h 115848"/>
                  <a:gd name="connsiteX2" fmla="*/ 107574 w 110332"/>
                  <a:gd name="connsiteY2" fmla="*/ 0 h 115848"/>
                  <a:gd name="connsiteX3" fmla="*/ 0 w 110332"/>
                  <a:gd name="connsiteY3" fmla="*/ 46891 h 115848"/>
                  <a:gd name="connsiteX4" fmla="*/ 30341 w 110332"/>
                  <a:gd name="connsiteY4" fmla="*/ 115849 h 115848"/>
                  <a:gd name="connsiteX5" fmla="*/ 102057 w 110332"/>
                  <a:gd name="connsiteY5" fmla="*/ 82749 h 115848"/>
                  <a:gd name="connsiteX6" fmla="*/ 102057 w 110332"/>
                  <a:gd name="connsiteY6" fmla="*/ 82749 h 115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32" h="115848">
                    <a:moveTo>
                      <a:pt x="102057" y="82749"/>
                    </a:moveTo>
                    <a:cubicBezTo>
                      <a:pt x="91024" y="55166"/>
                      <a:pt x="93782" y="22066"/>
                      <a:pt x="110332" y="0"/>
                    </a:cubicBezTo>
                    <a:cubicBezTo>
                      <a:pt x="110332" y="0"/>
                      <a:pt x="107574" y="0"/>
                      <a:pt x="107574" y="0"/>
                    </a:cubicBezTo>
                    <a:lnTo>
                      <a:pt x="0" y="46891"/>
                    </a:lnTo>
                    <a:lnTo>
                      <a:pt x="30341" y="115849"/>
                    </a:lnTo>
                    <a:lnTo>
                      <a:pt x="102057" y="82749"/>
                    </a:lnTo>
                    <a:cubicBezTo>
                      <a:pt x="102057" y="82749"/>
                      <a:pt x="102057" y="82749"/>
                      <a:pt x="102057" y="82749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6" name="フリーフォーム: 図形 225">
                <a:extLst>
                  <a:ext uri="{FF2B5EF4-FFF2-40B4-BE49-F238E27FC236}">
                    <a16:creationId xmlns:a16="http://schemas.microsoft.com/office/drawing/2014/main" id="{2B4C035B-87B2-467F-B6AC-4776DECAEFF3}"/>
                  </a:ext>
                </a:extLst>
              </p:cNvPr>
              <p:cNvSpPr/>
              <p:nvPr/>
            </p:nvSpPr>
            <p:spPr>
              <a:xfrm>
                <a:off x="908320" y="3420725"/>
                <a:ext cx="117917" cy="116403"/>
              </a:xfrm>
              <a:custGeom>
                <a:avLst/>
                <a:gdLst>
                  <a:gd name="connsiteX0" fmla="*/ 117918 w 117917"/>
                  <a:gd name="connsiteY0" fmla="*/ 52408 h 116403"/>
                  <a:gd name="connsiteX1" fmla="*/ 65510 w 117917"/>
                  <a:gd name="connsiteY1" fmla="*/ 0 h 116403"/>
                  <a:gd name="connsiteX2" fmla="*/ 10344 w 117917"/>
                  <a:gd name="connsiteY2" fmla="*/ 49649 h 116403"/>
                  <a:gd name="connsiteX3" fmla="*/ 10344 w 117917"/>
                  <a:gd name="connsiteY3" fmla="*/ 102057 h 116403"/>
                  <a:gd name="connsiteX4" fmla="*/ 62751 w 117917"/>
                  <a:gd name="connsiteY4" fmla="*/ 107574 h 116403"/>
                  <a:gd name="connsiteX5" fmla="*/ 117918 w 117917"/>
                  <a:gd name="connsiteY5" fmla="*/ 52408 h 116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403">
                    <a:moveTo>
                      <a:pt x="117918" y="52408"/>
                    </a:moveTo>
                    <a:cubicBezTo>
                      <a:pt x="101368" y="35858"/>
                      <a:pt x="82060" y="19308"/>
                      <a:pt x="65510" y="0"/>
                    </a:cubicBezTo>
                    <a:cubicBezTo>
                      <a:pt x="46202" y="19308"/>
                      <a:pt x="29652" y="35858"/>
                      <a:pt x="10344" y="49649"/>
                    </a:cubicBezTo>
                    <a:cubicBezTo>
                      <a:pt x="-3448" y="60683"/>
                      <a:pt x="-3448" y="85507"/>
                      <a:pt x="10344" y="102057"/>
                    </a:cubicBezTo>
                    <a:cubicBezTo>
                      <a:pt x="24135" y="118607"/>
                      <a:pt x="48960" y="121365"/>
                      <a:pt x="62751" y="107574"/>
                    </a:cubicBezTo>
                    <a:cubicBezTo>
                      <a:pt x="82060" y="91024"/>
                      <a:pt x="101368" y="71716"/>
                      <a:pt x="117918" y="52408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7" name="フリーフォーム: 図形 226">
                <a:extLst>
                  <a:ext uri="{FF2B5EF4-FFF2-40B4-BE49-F238E27FC236}">
                    <a16:creationId xmlns:a16="http://schemas.microsoft.com/office/drawing/2014/main" id="{989039AD-9DC0-404D-85D3-6FC38C37F8F2}"/>
                  </a:ext>
                </a:extLst>
              </p:cNvPr>
              <p:cNvSpPr/>
              <p:nvPr/>
            </p:nvSpPr>
            <p:spPr>
              <a:xfrm>
                <a:off x="982794" y="3489682"/>
                <a:ext cx="117917" cy="116640"/>
              </a:xfrm>
              <a:custGeom>
                <a:avLst/>
                <a:gdLst>
                  <a:gd name="connsiteX0" fmla="*/ 10344 w 117917"/>
                  <a:gd name="connsiteY0" fmla="*/ 57924 h 116640"/>
                  <a:gd name="connsiteX1" fmla="*/ 10344 w 117917"/>
                  <a:gd name="connsiteY1" fmla="*/ 107574 h 116640"/>
                  <a:gd name="connsiteX2" fmla="*/ 62751 w 117917"/>
                  <a:gd name="connsiteY2" fmla="*/ 104815 h 116640"/>
                  <a:gd name="connsiteX3" fmla="*/ 117917 w 117917"/>
                  <a:gd name="connsiteY3" fmla="*/ 44133 h 116640"/>
                  <a:gd name="connsiteX4" fmla="*/ 65510 w 117917"/>
                  <a:gd name="connsiteY4" fmla="*/ 0 h 116640"/>
                  <a:gd name="connsiteX5" fmla="*/ 10344 w 117917"/>
                  <a:gd name="connsiteY5" fmla="*/ 57924 h 11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17" h="116640">
                    <a:moveTo>
                      <a:pt x="10344" y="57924"/>
                    </a:moveTo>
                    <a:cubicBezTo>
                      <a:pt x="-3448" y="71716"/>
                      <a:pt x="-3448" y="93782"/>
                      <a:pt x="10344" y="107574"/>
                    </a:cubicBezTo>
                    <a:cubicBezTo>
                      <a:pt x="24135" y="121365"/>
                      <a:pt x="48960" y="118607"/>
                      <a:pt x="62751" y="104815"/>
                    </a:cubicBezTo>
                    <a:cubicBezTo>
                      <a:pt x="82060" y="85507"/>
                      <a:pt x="98609" y="66199"/>
                      <a:pt x="117917" y="44133"/>
                    </a:cubicBezTo>
                    <a:cubicBezTo>
                      <a:pt x="101368" y="30341"/>
                      <a:pt x="82060" y="16550"/>
                      <a:pt x="65510" y="0"/>
                    </a:cubicBezTo>
                    <a:cubicBezTo>
                      <a:pt x="46202" y="22066"/>
                      <a:pt x="29652" y="41374"/>
                      <a:pt x="10344" y="57924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8" name="フリーフォーム: 図形 227">
                <a:extLst>
                  <a:ext uri="{FF2B5EF4-FFF2-40B4-BE49-F238E27FC236}">
                    <a16:creationId xmlns:a16="http://schemas.microsoft.com/office/drawing/2014/main" id="{7B514DAD-C283-470B-906F-BE68D9DEF90F}"/>
                  </a:ext>
                </a:extLst>
              </p:cNvPr>
              <p:cNvSpPr/>
              <p:nvPr/>
            </p:nvSpPr>
            <p:spPr>
              <a:xfrm>
                <a:off x="971933" y="3238677"/>
                <a:ext cx="565031" cy="535109"/>
              </a:xfrm>
              <a:custGeom>
                <a:avLst/>
                <a:gdLst>
                  <a:gd name="connsiteX0" fmla="*/ 559074 w 565031"/>
                  <a:gd name="connsiteY0" fmla="*/ 375129 h 535109"/>
                  <a:gd name="connsiteX1" fmla="*/ 528732 w 565031"/>
                  <a:gd name="connsiteY1" fmla="*/ 336512 h 535109"/>
                  <a:gd name="connsiteX2" fmla="*/ 484599 w 565031"/>
                  <a:gd name="connsiteY2" fmla="*/ 253763 h 535109"/>
                  <a:gd name="connsiteX3" fmla="*/ 451500 w 565031"/>
                  <a:gd name="connsiteY3" fmla="*/ 154465 h 535109"/>
                  <a:gd name="connsiteX4" fmla="*/ 412884 w 565031"/>
                  <a:gd name="connsiteY4" fmla="*/ 55166 h 535109"/>
                  <a:gd name="connsiteX5" fmla="*/ 407367 w 565031"/>
                  <a:gd name="connsiteY5" fmla="*/ 46891 h 535109"/>
                  <a:gd name="connsiteX6" fmla="*/ 377026 w 565031"/>
                  <a:gd name="connsiteY6" fmla="*/ 0 h 535109"/>
                  <a:gd name="connsiteX7" fmla="*/ 363234 w 565031"/>
                  <a:gd name="connsiteY7" fmla="*/ 5517 h 535109"/>
                  <a:gd name="connsiteX8" fmla="*/ 363234 w 565031"/>
                  <a:gd name="connsiteY8" fmla="*/ 5517 h 535109"/>
                  <a:gd name="connsiteX9" fmla="*/ 228077 w 565031"/>
                  <a:gd name="connsiteY9" fmla="*/ 66199 h 535109"/>
                  <a:gd name="connsiteX10" fmla="*/ 159120 w 565031"/>
                  <a:gd name="connsiteY10" fmla="*/ 96540 h 535109"/>
                  <a:gd name="connsiteX11" fmla="*/ 159120 w 565031"/>
                  <a:gd name="connsiteY11" fmla="*/ 96540 h 535109"/>
                  <a:gd name="connsiteX12" fmla="*/ 159120 w 565031"/>
                  <a:gd name="connsiteY12" fmla="*/ 96540 h 535109"/>
                  <a:gd name="connsiteX13" fmla="*/ 233594 w 565031"/>
                  <a:gd name="connsiteY13" fmla="*/ 154465 h 535109"/>
                  <a:gd name="connsiteX14" fmla="*/ 341168 w 565031"/>
                  <a:gd name="connsiteY14" fmla="*/ 171014 h 535109"/>
                  <a:gd name="connsiteX15" fmla="*/ 354959 w 565031"/>
                  <a:gd name="connsiteY15" fmla="*/ 182048 h 535109"/>
                  <a:gd name="connsiteX16" fmla="*/ 341168 w 565031"/>
                  <a:gd name="connsiteY16" fmla="*/ 201356 h 535109"/>
                  <a:gd name="connsiteX17" fmla="*/ 211527 w 565031"/>
                  <a:gd name="connsiteY17" fmla="*/ 182048 h 535109"/>
                  <a:gd name="connsiteX18" fmla="*/ 208769 w 565031"/>
                  <a:gd name="connsiteY18" fmla="*/ 182048 h 535109"/>
                  <a:gd name="connsiteX19" fmla="*/ 142570 w 565031"/>
                  <a:gd name="connsiteY19" fmla="*/ 132398 h 535109"/>
                  <a:gd name="connsiteX20" fmla="*/ 76371 w 565031"/>
                  <a:gd name="connsiteY20" fmla="*/ 71716 h 535109"/>
                  <a:gd name="connsiteX21" fmla="*/ 12930 w 565031"/>
                  <a:gd name="connsiteY21" fmla="*/ 74474 h 535109"/>
                  <a:gd name="connsiteX22" fmla="*/ 4655 w 565031"/>
                  <a:gd name="connsiteY22" fmla="*/ 132398 h 535109"/>
                  <a:gd name="connsiteX23" fmla="*/ 34996 w 565031"/>
                  <a:gd name="connsiteY23" fmla="*/ 165498 h 535109"/>
                  <a:gd name="connsiteX24" fmla="*/ 87404 w 565031"/>
                  <a:gd name="connsiteY24" fmla="*/ 215147 h 535109"/>
                  <a:gd name="connsiteX25" fmla="*/ 156361 w 565031"/>
                  <a:gd name="connsiteY25" fmla="*/ 270313 h 535109"/>
                  <a:gd name="connsiteX26" fmla="*/ 159120 w 565031"/>
                  <a:gd name="connsiteY26" fmla="*/ 273071 h 535109"/>
                  <a:gd name="connsiteX27" fmla="*/ 161878 w 565031"/>
                  <a:gd name="connsiteY27" fmla="*/ 275830 h 535109"/>
                  <a:gd name="connsiteX28" fmla="*/ 167395 w 565031"/>
                  <a:gd name="connsiteY28" fmla="*/ 284105 h 535109"/>
                  <a:gd name="connsiteX29" fmla="*/ 219802 w 565031"/>
                  <a:gd name="connsiteY29" fmla="*/ 410986 h 535109"/>
                  <a:gd name="connsiteX30" fmla="*/ 272210 w 565031"/>
                  <a:gd name="connsiteY30" fmla="*/ 441328 h 535109"/>
                  <a:gd name="connsiteX31" fmla="*/ 330135 w 565031"/>
                  <a:gd name="connsiteY31" fmla="*/ 455119 h 535109"/>
                  <a:gd name="connsiteX32" fmla="*/ 363234 w 565031"/>
                  <a:gd name="connsiteY32" fmla="*/ 468911 h 535109"/>
                  <a:gd name="connsiteX33" fmla="*/ 423917 w 565031"/>
                  <a:gd name="connsiteY33" fmla="*/ 535110 h 535109"/>
                  <a:gd name="connsiteX34" fmla="*/ 501149 w 565031"/>
                  <a:gd name="connsiteY34" fmla="*/ 444086 h 535109"/>
                  <a:gd name="connsiteX35" fmla="*/ 564590 w 565031"/>
                  <a:gd name="connsiteY35" fmla="*/ 386162 h 535109"/>
                  <a:gd name="connsiteX36" fmla="*/ 559074 w 565031"/>
                  <a:gd name="connsiteY36" fmla="*/ 375129 h 535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565031" h="535109">
                    <a:moveTo>
                      <a:pt x="559074" y="375129"/>
                    </a:moveTo>
                    <a:cubicBezTo>
                      <a:pt x="548040" y="361337"/>
                      <a:pt x="537007" y="350304"/>
                      <a:pt x="528732" y="336512"/>
                    </a:cubicBezTo>
                    <a:cubicBezTo>
                      <a:pt x="509424" y="311688"/>
                      <a:pt x="492874" y="284105"/>
                      <a:pt x="484599" y="253763"/>
                    </a:cubicBezTo>
                    <a:cubicBezTo>
                      <a:pt x="473566" y="226180"/>
                      <a:pt x="462533" y="187564"/>
                      <a:pt x="451500" y="154465"/>
                    </a:cubicBezTo>
                    <a:cubicBezTo>
                      <a:pt x="434950" y="110332"/>
                      <a:pt x="418400" y="66199"/>
                      <a:pt x="412884" y="55166"/>
                    </a:cubicBezTo>
                    <a:cubicBezTo>
                      <a:pt x="412884" y="52408"/>
                      <a:pt x="410125" y="49649"/>
                      <a:pt x="407367" y="46891"/>
                    </a:cubicBezTo>
                    <a:cubicBezTo>
                      <a:pt x="401850" y="35858"/>
                      <a:pt x="390817" y="19308"/>
                      <a:pt x="377026" y="0"/>
                    </a:cubicBezTo>
                    <a:lnTo>
                      <a:pt x="363234" y="5517"/>
                    </a:lnTo>
                    <a:cubicBezTo>
                      <a:pt x="363234" y="5517"/>
                      <a:pt x="363234" y="5517"/>
                      <a:pt x="363234" y="5517"/>
                    </a:cubicBezTo>
                    <a:lnTo>
                      <a:pt x="228077" y="66199"/>
                    </a:lnTo>
                    <a:lnTo>
                      <a:pt x="159120" y="96540"/>
                    </a:lnTo>
                    <a:lnTo>
                      <a:pt x="159120" y="96540"/>
                    </a:lnTo>
                    <a:lnTo>
                      <a:pt x="159120" y="96540"/>
                    </a:lnTo>
                    <a:cubicBezTo>
                      <a:pt x="167395" y="102057"/>
                      <a:pt x="222561" y="146190"/>
                      <a:pt x="233594" y="154465"/>
                    </a:cubicBezTo>
                    <a:cubicBezTo>
                      <a:pt x="261177" y="176531"/>
                      <a:pt x="302551" y="179289"/>
                      <a:pt x="341168" y="171014"/>
                    </a:cubicBezTo>
                    <a:cubicBezTo>
                      <a:pt x="349443" y="168256"/>
                      <a:pt x="354959" y="173773"/>
                      <a:pt x="354959" y="182048"/>
                    </a:cubicBezTo>
                    <a:cubicBezTo>
                      <a:pt x="354959" y="190323"/>
                      <a:pt x="349443" y="198597"/>
                      <a:pt x="341168" y="201356"/>
                    </a:cubicBezTo>
                    <a:cubicBezTo>
                      <a:pt x="291518" y="212389"/>
                      <a:pt x="247385" y="206872"/>
                      <a:pt x="211527" y="182048"/>
                    </a:cubicBezTo>
                    <a:cubicBezTo>
                      <a:pt x="211527" y="182048"/>
                      <a:pt x="211527" y="182048"/>
                      <a:pt x="208769" y="182048"/>
                    </a:cubicBezTo>
                    <a:cubicBezTo>
                      <a:pt x="186703" y="165498"/>
                      <a:pt x="164636" y="148948"/>
                      <a:pt x="142570" y="132398"/>
                    </a:cubicBezTo>
                    <a:cubicBezTo>
                      <a:pt x="137053" y="129640"/>
                      <a:pt x="84645" y="79991"/>
                      <a:pt x="76371" y="71716"/>
                    </a:cubicBezTo>
                    <a:cubicBezTo>
                      <a:pt x="59821" y="55166"/>
                      <a:pt x="29479" y="55166"/>
                      <a:pt x="12930" y="74474"/>
                    </a:cubicBezTo>
                    <a:cubicBezTo>
                      <a:pt x="-862" y="91024"/>
                      <a:pt x="-3620" y="113090"/>
                      <a:pt x="4655" y="132398"/>
                    </a:cubicBezTo>
                    <a:cubicBezTo>
                      <a:pt x="7413" y="143431"/>
                      <a:pt x="29479" y="162740"/>
                      <a:pt x="34996" y="165498"/>
                    </a:cubicBezTo>
                    <a:cubicBezTo>
                      <a:pt x="51546" y="184806"/>
                      <a:pt x="70854" y="201356"/>
                      <a:pt x="87404" y="215147"/>
                    </a:cubicBezTo>
                    <a:cubicBezTo>
                      <a:pt x="109470" y="234455"/>
                      <a:pt x="134295" y="253763"/>
                      <a:pt x="156361" y="270313"/>
                    </a:cubicBezTo>
                    <a:cubicBezTo>
                      <a:pt x="156361" y="270313"/>
                      <a:pt x="156361" y="270313"/>
                      <a:pt x="159120" y="273071"/>
                    </a:cubicBezTo>
                    <a:cubicBezTo>
                      <a:pt x="159120" y="273071"/>
                      <a:pt x="161878" y="275830"/>
                      <a:pt x="161878" y="275830"/>
                    </a:cubicBezTo>
                    <a:cubicBezTo>
                      <a:pt x="164636" y="278588"/>
                      <a:pt x="167395" y="281346"/>
                      <a:pt x="167395" y="284105"/>
                    </a:cubicBezTo>
                    <a:cubicBezTo>
                      <a:pt x="167395" y="347546"/>
                      <a:pt x="181186" y="380645"/>
                      <a:pt x="219802" y="410986"/>
                    </a:cubicBezTo>
                    <a:cubicBezTo>
                      <a:pt x="236352" y="422020"/>
                      <a:pt x="252902" y="433053"/>
                      <a:pt x="272210" y="441328"/>
                    </a:cubicBezTo>
                    <a:cubicBezTo>
                      <a:pt x="291518" y="449603"/>
                      <a:pt x="310826" y="449603"/>
                      <a:pt x="330135" y="455119"/>
                    </a:cubicBezTo>
                    <a:cubicBezTo>
                      <a:pt x="341168" y="457877"/>
                      <a:pt x="352201" y="460636"/>
                      <a:pt x="363234" y="468911"/>
                    </a:cubicBezTo>
                    <a:cubicBezTo>
                      <a:pt x="374267" y="477185"/>
                      <a:pt x="412884" y="524077"/>
                      <a:pt x="423917" y="535110"/>
                    </a:cubicBezTo>
                    <a:cubicBezTo>
                      <a:pt x="423917" y="535110"/>
                      <a:pt x="498391" y="449603"/>
                      <a:pt x="501149" y="444086"/>
                    </a:cubicBezTo>
                    <a:cubicBezTo>
                      <a:pt x="523216" y="422020"/>
                      <a:pt x="545282" y="402711"/>
                      <a:pt x="564590" y="386162"/>
                    </a:cubicBezTo>
                    <a:cubicBezTo>
                      <a:pt x="564590" y="383403"/>
                      <a:pt x="567349" y="383403"/>
                      <a:pt x="559074" y="375129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9" name="フリーフォーム: 図形 228">
                <a:extLst>
                  <a:ext uri="{FF2B5EF4-FFF2-40B4-BE49-F238E27FC236}">
                    <a16:creationId xmlns:a16="http://schemas.microsoft.com/office/drawing/2014/main" id="{2171BE13-00F3-409D-9C83-D968E781918D}"/>
                  </a:ext>
                </a:extLst>
              </p:cNvPr>
              <p:cNvSpPr/>
              <p:nvPr/>
            </p:nvSpPr>
            <p:spPr>
              <a:xfrm>
                <a:off x="1026237" y="3120070"/>
                <a:ext cx="366854" cy="198597"/>
              </a:xfrm>
              <a:custGeom>
                <a:avLst/>
                <a:gdLst>
                  <a:gd name="connsiteX0" fmla="*/ 11033 w 366854"/>
                  <a:gd name="connsiteY0" fmla="*/ 143431 h 198597"/>
                  <a:gd name="connsiteX1" fmla="*/ 0 w 366854"/>
                  <a:gd name="connsiteY1" fmla="*/ 148948 h 198597"/>
                  <a:gd name="connsiteX2" fmla="*/ 46891 w 366854"/>
                  <a:gd name="connsiteY2" fmla="*/ 176531 h 198597"/>
                  <a:gd name="connsiteX3" fmla="*/ 46891 w 366854"/>
                  <a:gd name="connsiteY3" fmla="*/ 176531 h 198597"/>
                  <a:gd name="connsiteX4" fmla="*/ 74474 w 366854"/>
                  <a:gd name="connsiteY4" fmla="*/ 198597 h 198597"/>
                  <a:gd name="connsiteX5" fmla="*/ 317205 w 366854"/>
                  <a:gd name="connsiteY5" fmla="*/ 91024 h 198597"/>
                  <a:gd name="connsiteX6" fmla="*/ 328238 w 366854"/>
                  <a:gd name="connsiteY6" fmla="*/ 85507 h 198597"/>
                  <a:gd name="connsiteX7" fmla="*/ 366854 w 366854"/>
                  <a:gd name="connsiteY7" fmla="*/ 68957 h 198597"/>
                  <a:gd name="connsiteX8" fmla="*/ 336513 w 366854"/>
                  <a:gd name="connsiteY8" fmla="*/ 0 h 198597"/>
                  <a:gd name="connsiteX9" fmla="*/ 11033 w 366854"/>
                  <a:gd name="connsiteY9" fmla="*/ 143431 h 198597"/>
                  <a:gd name="connsiteX10" fmla="*/ 11033 w 366854"/>
                  <a:gd name="connsiteY10" fmla="*/ 143431 h 198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6854" h="198597">
                    <a:moveTo>
                      <a:pt x="11033" y="143431"/>
                    </a:moveTo>
                    <a:lnTo>
                      <a:pt x="0" y="148948"/>
                    </a:lnTo>
                    <a:cubicBezTo>
                      <a:pt x="0" y="148948"/>
                      <a:pt x="27583" y="157223"/>
                      <a:pt x="46891" y="176531"/>
                    </a:cubicBezTo>
                    <a:lnTo>
                      <a:pt x="46891" y="176531"/>
                    </a:lnTo>
                    <a:cubicBezTo>
                      <a:pt x="55166" y="184806"/>
                      <a:pt x="66199" y="193081"/>
                      <a:pt x="74474" y="198597"/>
                    </a:cubicBezTo>
                    <a:lnTo>
                      <a:pt x="317205" y="91024"/>
                    </a:lnTo>
                    <a:lnTo>
                      <a:pt x="328238" y="85507"/>
                    </a:lnTo>
                    <a:lnTo>
                      <a:pt x="366854" y="68957"/>
                    </a:lnTo>
                    <a:lnTo>
                      <a:pt x="336513" y="0"/>
                    </a:lnTo>
                    <a:lnTo>
                      <a:pt x="11033" y="143431"/>
                    </a:lnTo>
                    <a:cubicBezTo>
                      <a:pt x="11033" y="143431"/>
                      <a:pt x="11033" y="143431"/>
                      <a:pt x="11033" y="143431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30" name="フリーフォーム: 図形 229">
                <a:extLst>
                  <a:ext uri="{FF2B5EF4-FFF2-40B4-BE49-F238E27FC236}">
                    <a16:creationId xmlns:a16="http://schemas.microsoft.com/office/drawing/2014/main" id="{3E1489C2-E0E1-4A14-AC92-8A7AD66545A3}"/>
                  </a:ext>
                </a:extLst>
              </p:cNvPr>
              <p:cNvSpPr/>
              <p:nvPr/>
            </p:nvSpPr>
            <p:spPr>
              <a:xfrm>
                <a:off x="653866" y="3365559"/>
                <a:ext cx="190322" cy="140673"/>
              </a:xfrm>
              <a:custGeom>
                <a:avLst/>
                <a:gdLst>
                  <a:gd name="connsiteX0" fmla="*/ 140674 w 190322"/>
                  <a:gd name="connsiteY0" fmla="*/ 11033 h 140673"/>
                  <a:gd name="connsiteX1" fmla="*/ 66199 w 190322"/>
                  <a:gd name="connsiteY1" fmla="*/ 0 h 140673"/>
                  <a:gd name="connsiteX2" fmla="*/ 63441 w 190322"/>
                  <a:gd name="connsiteY2" fmla="*/ 0 h 140673"/>
                  <a:gd name="connsiteX3" fmla="*/ 60683 w 190322"/>
                  <a:gd name="connsiteY3" fmla="*/ 2758 h 140673"/>
                  <a:gd name="connsiteX4" fmla="*/ 16550 w 190322"/>
                  <a:gd name="connsiteY4" fmla="*/ 79991 h 140673"/>
                  <a:gd name="connsiteX5" fmla="*/ 0 w 190322"/>
                  <a:gd name="connsiteY5" fmla="*/ 104815 h 140673"/>
                  <a:gd name="connsiteX6" fmla="*/ 63441 w 190322"/>
                  <a:gd name="connsiteY6" fmla="*/ 74474 h 140673"/>
                  <a:gd name="connsiteX7" fmla="*/ 68958 w 190322"/>
                  <a:gd name="connsiteY7" fmla="*/ 66199 h 140673"/>
                  <a:gd name="connsiteX8" fmla="*/ 74474 w 190322"/>
                  <a:gd name="connsiteY8" fmla="*/ 55166 h 140673"/>
                  <a:gd name="connsiteX9" fmla="*/ 88266 w 190322"/>
                  <a:gd name="connsiteY9" fmla="*/ 49649 h 140673"/>
                  <a:gd name="connsiteX10" fmla="*/ 110332 w 190322"/>
                  <a:gd name="connsiteY10" fmla="*/ 71716 h 140673"/>
                  <a:gd name="connsiteX11" fmla="*/ 82749 w 190322"/>
                  <a:gd name="connsiteY11" fmla="*/ 91024 h 140673"/>
                  <a:gd name="connsiteX12" fmla="*/ 77233 w 190322"/>
                  <a:gd name="connsiteY12" fmla="*/ 88265 h 140673"/>
                  <a:gd name="connsiteX13" fmla="*/ 68958 w 190322"/>
                  <a:gd name="connsiteY13" fmla="*/ 91024 h 140673"/>
                  <a:gd name="connsiteX14" fmla="*/ 5517 w 190322"/>
                  <a:gd name="connsiteY14" fmla="*/ 121365 h 140673"/>
                  <a:gd name="connsiteX15" fmla="*/ 85507 w 190322"/>
                  <a:gd name="connsiteY15" fmla="*/ 135157 h 140673"/>
                  <a:gd name="connsiteX16" fmla="*/ 121365 w 190322"/>
                  <a:gd name="connsiteY16" fmla="*/ 140673 h 140673"/>
                  <a:gd name="connsiteX17" fmla="*/ 126882 w 190322"/>
                  <a:gd name="connsiteY17" fmla="*/ 140673 h 140673"/>
                  <a:gd name="connsiteX18" fmla="*/ 140674 w 190322"/>
                  <a:gd name="connsiteY18" fmla="*/ 118607 h 140673"/>
                  <a:gd name="connsiteX19" fmla="*/ 165498 w 190322"/>
                  <a:gd name="connsiteY19" fmla="*/ 77232 h 140673"/>
                  <a:gd name="connsiteX20" fmla="*/ 176531 w 190322"/>
                  <a:gd name="connsiteY20" fmla="*/ 66199 h 140673"/>
                  <a:gd name="connsiteX21" fmla="*/ 190323 w 190322"/>
                  <a:gd name="connsiteY21" fmla="*/ 60683 h 140673"/>
                  <a:gd name="connsiteX22" fmla="*/ 165498 w 190322"/>
                  <a:gd name="connsiteY22" fmla="*/ 8275 h 140673"/>
                  <a:gd name="connsiteX23" fmla="*/ 140674 w 190322"/>
                  <a:gd name="connsiteY23" fmla="*/ 11033 h 140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90322" h="140673">
                    <a:moveTo>
                      <a:pt x="140674" y="11033"/>
                    </a:moveTo>
                    <a:cubicBezTo>
                      <a:pt x="126882" y="8275"/>
                      <a:pt x="66199" y="0"/>
                      <a:pt x="66199" y="0"/>
                    </a:cubicBezTo>
                    <a:cubicBezTo>
                      <a:pt x="66199" y="0"/>
                      <a:pt x="63441" y="0"/>
                      <a:pt x="63441" y="0"/>
                    </a:cubicBezTo>
                    <a:cubicBezTo>
                      <a:pt x="63441" y="0"/>
                      <a:pt x="60683" y="2758"/>
                      <a:pt x="60683" y="2758"/>
                    </a:cubicBezTo>
                    <a:cubicBezTo>
                      <a:pt x="60683" y="2758"/>
                      <a:pt x="16550" y="79991"/>
                      <a:pt x="16550" y="79991"/>
                    </a:cubicBezTo>
                    <a:lnTo>
                      <a:pt x="0" y="104815"/>
                    </a:lnTo>
                    <a:cubicBezTo>
                      <a:pt x="5517" y="102057"/>
                      <a:pt x="60683" y="77232"/>
                      <a:pt x="63441" y="74474"/>
                    </a:cubicBezTo>
                    <a:cubicBezTo>
                      <a:pt x="68958" y="71716"/>
                      <a:pt x="68958" y="68957"/>
                      <a:pt x="68958" y="66199"/>
                    </a:cubicBezTo>
                    <a:cubicBezTo>
                      <a:pt x="68958" y="63441"/>
                      <a:pt x="71716" y="57924"/>
                      <a:pt x="74474" y="55166"/>
                    </a:cubicBezTo>
                    <a:cubicBezTo>
                      <a:pt x="79991" y="52408"/>
                      <a:pt x="82749" y="49649"/>
                      <a:pt x="88266" y="49649"/>
                    </a:cubicBezTo>
                    <a:cubicBezTo>
                      <a:pt x="99299" y="49649"/>
                      <a:pt x="110332" y="57924"/>
                      <a:pt x="110332" y="71716"/>
                    </a:cubicBezTo>
                    <a:cubicBezTo>
                      <a:pt x="110332" y="85507"/>
                      <a:pt x="96541" y="96540"/>
                      <a:pt x="82749" y="91024"/>
                    </a:cubicBezTo>
                    <a:cubicBezTo>
                      <a:pt x="79991" y="91024"/>
                      <a:pt x="77233" y="88265"/>
                      <a:pt x="77233" y="88265"/>
                    </a:cubicBezTo>
                    <a:cubicBezTo>
                      <a:pt x="74474" y="88265"/>
                      <a:pt x="71716" y="88265"/>
                      <a:pt x="68958" y="91024"/>
                    </a:cubicBezTo>
                    <a:cubicBezTo>
                      <a:pt x="57924" y="96540"/>
                      <a:pt x="8275" y="118607"/>
                      <a:pt x="5517" y="121365"/>
                    </a:cubicBezTo>
                    <a:lnTo>
                      <a:pt x="85507" y="135157"/>
                    </a:lnTo>
                    <a:lnTo>
                      <a:pt x="121365" y="140673"/>
                    </a:lnTo>
                    <a:cubicBezTo>
                      <a:pt x="121365" y="140673"/>
                      <a:pt x="124124" y="140673"/>
                      <a:pt x="126882" y="140673"/>
                    </a:cubicBezTo>
                    <a:lnTo>
                      <a:pt x="140674" y="118607"/>
                    </a:lnTo>
                    <a:lnTo>
                      <a:pt x="165498" y="77232"/>
                    </a:lnTo>
                    <a:cubicBezTo>
                      <a:pt x="165498" y="77232"/>
                      <a:pt x="168257" y="71716"/>
                      <a:pt x="176531" y="66199"/>
                    </a:cubicBezTo>
                    <a:cubicBezTo>
                      <a:pt x="182048" y="63441"/>
                      <a:pt x="190323" y="60683"/>
                      <a:pt x="190323" y="60683"/>
                    </a:cubicBezTo>
                    <a:lnTo>
                      <a:pt x="165498" y="8275"/>
                    </a:lnTo>
                    <a:cubicBezTo>
                      <a:pt x="168257" y="5517"/>
                      <a:pt x="154465" y="13791"/>
                      <a:pt x="140674" y="11033"/>
                    </a:cubicBezTo>
                  </a:path>
                </a:pathLst>
              </a:custGeom>
              <a:solidFill>
                <a:srgbClr val="F29300"/>
              </a:solidFill>
              <a:ln w="275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41" name="図 240">
            <a:extLst>
              <a:ext uri="{FF2B5EF4-FFF2-40B4-BE49-F238E27FC236}">
                <a16:creationId xmlns:a16="http://schemas.microsoft.com/office/drawing/2014/main" id="{24D46610-F5DB-4000-8F06-349F4F1C108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2363" y="4990504"/>
            <a:ext cx="1096679" cy="1474215"/>
          </a:xfrm>
          <a:prstGeom prst="rect">
            <a:avLst/>
          </a:prstGeom>
        </p:spPr>
      </p:pic>
      <p:pic>
        <p:nvPicPr>
          <p:cNvPr id="242" name="Picture 111" descr="http://blogs.sun.com/MortazaviBlog/resource/elephant.png">
            <a:extLst>
              <a:ext uri="{FF2B5EF4-FFF2-40B4-BE49-F238E27FC236}">
                <a16:creationId xmlns:a16="http://schemas.microsoft.com/office/drawing/2014/main" id="{4F4C0D63-E0D5-4BD3-966D-B8685B5A13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9334" y="2574611"/>
            <a:ext cx="437963" cy="41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3" name="グループ化 242">
            <a:extLst>
              <a:ext uri="{FF2B5EF4-FFF2-40B4-BE49-F238E27FC236}">
                <a16:creationId xmlns:a16="http://schemas.microsoft.com/office/drawing/2014/main" id="{5CFDA816-B050-41E2-8D30-A11BD6DB6556}"/>
              </a:ext>
            </a:extLst>
          </p:cNvPr>
          <p:cNvGrpSpPr/>
          <p:nvPr/>
        </p:nvGrpSpPr>
        <p:grpSpPr>
          <a:xfrm>
            <a:off x="5217382" y="2510726"/>
            <a:ext cx="5664943" cy="2186229"/>
            <a:chOff x="10431589" y="5021451"/>
            <a:chExt cx="11329886" cy="4372457"/>
          </a:xfrm>
        </p:grpSpPr>
        <p:grpSp>
          <p:nvGrpSpPr>
            <p:cNvPr id="244" name="グループ化 243">
              <a:extLst>
                <a:ext uri="{FF2B5EF4-FFF2-40B4-BE49-F238E27FC236}">
                  <a16:creationId xmlns:a16="http://schemas.microsoft.com/office/drawing/2014/main" id="{18E1C91A-3041-4647-A5C8-039F05A177D5}"/>
                </a:ext>
              </a:extLst>
            </p:cNvPr>
            <p:cNvGrpSpPr/>
            <p:nvPr/>
          </p:nvGrpSpPr>
          <p:grpSpPr>
            <a:xfrm>
              <a:off x="10431589" y="5975037"/>
              <a:ext cx="11329886" cy="3418871"/>
              <a:chOff x="10431589" y="5975037"/>
              <a:chExt cx="11329886" cy="3418871"/>
            </a:xfrm>
          </p:grpSpPr>
          <p:sp>
            <p:nvSpPr>
              <p:cNvPr id="257" name="左右矢印 18">
                <a:extLst>
                  <a:ext uri="{FF2B5EF4-FFF2-40B4-BE49-F238E27FC236}">
                    <a16:creationId xmlns:a16="http://schemas.microsoft.com/office/drawing/2014/main" id="{47A37A9A-5DD0-4E86-9082-127091168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3101955">
                <a:off x="11007954" y="7295062"/>
                <a:ext cx="3418871" cy="778821"/>
              </a:xfrm>
              <a:prstGeom prst="leftRightArrow">
                <a:avLst>
                  <a:gd name="adj1" fmla="val 39102"/>
                  <a:gd name="adj2" fmla="val 56794"/>
                </a:avLst>
              </a:prstGeom>
              <a:solidFill>
                <a:sysClr val="window" lastClr="FFFFFF">
                  <a:lumMod val="50000"/>
                </a:sys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>
                  <a:defRPr/>
                </a:pPr>
                <a:endParaRPr lang="ja-JP" altLang="en-US" sz="1050" kern="0" dirty="0">
                  <a:solidFill>
                    <a:srgbClr val="FFFFFF"/>
                  </a:solidFill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grpSp>
            <p:nvGrpSpPr>
              <p:cNvPr id="258" name="グループ化 257">
                <a:extLst>
                  <a:ext uri="{FF2B5EF4-FFF2-40B4-BE49-F238E27FC236}">
                    <a16:creationId xmlns:a16="http://schemas.microsoft.com/office/drawing/2014/main" id="{4A6A9196-B8F7-4B25-8EB3-D500B61E31C8}"/>
                  </a:ext>
                </a:extLst>
              </p:cNvPr>
              <p:cNvGrpSpPr/>
              <p:nvPr/>
            </p:nvGrpSpPr>
            <p:grpSpPr>
              <a:xfrm>
                <a:off x="10431589" y="7204144"/>
                <a:ext cx="1770119" cy="1640509"/>
                <a:chOff x="3081817" y="2206099"/>
                <a:chExt cx="686520" cy="682355"/>
              </a:xfrm>
            </p:grpSpPr>
            <p:sp>
              <p:nvSpPr>
                <p:cNvPr id="260" name="角丸四角形 98">
                  <a:extLst>
                    <a:ext uri="{FF2B5EF4-FFF2-40B4-BE49-F238E27FC236}">
                      <a16:creationId xmlns:a16="http://schemas.microsoft.com/office/drawing/2014/main" id="{F3927760-90DB-4AE4-8741-A9C8CCD92A53}"/>
                    </a:ext>
                  </a:extLst>
                </p:cNvPr>
                <p:cNvSpPr/>
                <p:nvPr/>
              </p:nvSpPr>
              <p:spPr>
                <a:xfrm>
                  <a:off x="3081817" y="2504491"/>
                  <a:ext cx="686520" cy="383963"/>
                </a:xfrm>
                <a:prstGeom prst="roundRect">
                  <a:avLst>
                    <a:gd name="adj" fmla="val 50000"/>
                  </a:avLst>
                </a:prstGeom>
                <a:noFill/>
                <a:ln w="127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>
                  <a:softEdge rad="63500"/>
                </a:effectLst>
              </p:spPr>
              <p:txBody>
                <a:bodyPr lIns="0" tIns="0" rIns="0" bIns="0" rtlCol="0" anchor="t" anchorCtr="0"/>
                <a:lstStyle/>
                <a:p>
                  <a:pPr algn="ctr">
                    <a:lnSpc>
                      <a:spcPts val="1000"/>
                    </a:lnSpc>
                    <a:defRPr/>
                  </a:pPr>
                  <a:r>
                    <a:rPr lang="en-US" altLang="ja-JP" sz="800" b="1" kern="0" dirty="0">
                      <a:solidFill>
                        <a:srgbClr val="0000CC"/>
                      </a:solidFill>
                      <a:latin typeface="Arial" panose="020B0604020202020204" pitchFamily="34" charset="0"/>
                      <a:ea typeface="UD Digi Kyokasho N-B" panose="02020700000000000000" pitchFamily="17" charset="-128"/>
                      <a:cs typeface="Arial" panose="020B0604020202020204" pitchFamily="34" charset="0"/>
                    </a:rPr>
                    <a:t>LOGIN ID</a:t>
                  </a:r>
                </a:p>
                <a:p>
                  <a:pPr algn="ctr">
                    <a:lnSpc>
                      <a:spcPts val="1000"/>
                    </a:lnSpc>
                    <a:defRPr/>
                  </a:pPr>
                  <a:r>
                    <a:rPr lang="en-US" altLang="ja-JP" sz="800" b="1" kern="0" dirty="0">
                      <a:solidFill>
                        <a:srgbClr val="0000CC"/>
                      </a:solidFill>
                      <a:latin typeface="Arial" panose="020B0604020202020204" pitchFamily="34" charset="0"/>
                      <a:ea typeface="UD Digi Kyokasho N-B" panose="02020700000000000000" pitchFamily="17" charset="-128"/>
                      <a:cs typeface="Arial" panose="020B0604020202020204" pitchFamily="34" charset="0"/>
                    </a:rPr>
                    <a:t>PW</a:t>
                  </a:r>
                </a:p>
              </p:txBody>
            </p:sp>
            <p:pic>
              <p:nvPicPr>
                <p:cNvPr id="261" name="Picture 2">
                  <a:extLst>
                    <a:ext uri="{FF2B5EF4-FFF2-40B4-BE49-F238E27FC236}">
                      <a16:creationId xmlns:a16="http://schemas.microsoft.com/office/drawing/2014/main" id="{0FC5F0F5-87A4-403C-8B04-0E85780D99C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278853" y="2206099"/>
                  <a:ext cx="305696" cy="32547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259" name="正方形/長方形 258">
                <a:extLst>
                  <a:ext uri="{FF2B5EF4-FFF2-40B4-BE49-F238E27FC236}">
                    <a16:creationId xmlns:a16="http://schemas.microsoft.com/office/drawing/2014/main" id="{2C688A9D-F818-4AE3-ACFB-C24D5BA748CD}"/>
                  </a:ext>
                </a:extLst>
              </p:cNvPr>
              <p:cNvSpPr/>
              <p:nvPr/>
            </p:nvSpPr>
            <p:spPr>
              <a:xfrm>
                <a:off x="12617305" y="6031091"/>
                <a:ext cx="9144170" cy="615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ja-JP" sz="1400" b="1" dirty="0" err="1">
                    <a:solidFill>
                      <a:srgbClr val="3399FF"/>
                    </a:solidFill>
                    <a:latin typeface="Arial" panose="020B0604020202020204" pitchFamily="34" charset="0"/>
                    <a:ea typeface="UD Digi Kyokasho N-B" panose="02020700000000000000" pitchFamily="17" charset="-128"/>
                    <a:cs typeface="Arial" panose="020B0604020202020204" pitchFamily="34" charset="0"/>
                  </a:rPr>
                  <a:t>i</a:t>
                </a:r>
                <a:r>
                  <a:rPr lang="en-US" altLang="ja-JP" sz="1400" b="1" dirty="0">
                    <a:solidFill>
                      <a:srgbClr val="3399FF"/>
                    </a:solidFill>
                    <a:latin typeface="Arial" panose="020B0604020202020204" pitchFamily="34" charset="0"/>
                    <a:ea typeface="UD Digi Kyokasho N-B" panose="02020700000000000000" pitchFamily="17" charset="-128"/>
                    <a:cs typeface="Arial" panose="020B0604020202020204" pitchFamily="34" charset="0"/>
                  </a:rPr>
                  <a:t>-Repo </a:t>
                </a:r>
                <a:r>
                  <a:rPr lang="en-US" altLang="ja-JP" sz="1400" b="1" dirty="0" err="1">
                    <a:solidFill>
                      <a:srgbClr val="3399FF"/>
                    </a:solidFill>
                    <a:latin typeface="Arial" panose="020B0604020202020204" pitchFamily="34" charset="0"/>
                    <a:ea typeface="UD Digi Kyokasho N-B" panose="02020700000000000000" pitchFamily="17" charset="-128"/>
                    <a:cs typeface="Arial" panose="020B0604020202020204" pitchFamily="34" charset="0"/>
                  </a:rPr>
                  <a:t>FreeDraw</a:t>
                </a:r>
                <a:r>
                  <a:rPr lang="en-US" altLang="ja-JP" sz="1400" b="1" dirty="0">
                    <a:solidFill>
                      <a:srgbClr val="3399FF"/>
                    </a:solidFill>
                    <a:latin typeface="Arial" panose="020B0604020202020204" pitchFamily="34" charset="0"/>
                    <a:ea typeface="UD Digi Kyokasho N-B" panose="02020700000000000000" pitchFamily="17" charset="-128"/>
                    <a:cs typeface="Arial" panose="020B0604020202020204" pitchFamily="34" charset="0"/>
                  </a:rPr>
                  <a:t> Documents Saved in Book Library</a:t>
                </a:r>
                <a:endParaRPr lang="ja-JP" altLang="en-US" sz="1400" b="1" dirty="0">
                  <a:solidFill>
                    <a:srgbClr val="3399FF"/>
                  </a:solidFill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45" name="図 244">
              <a:extLst>
                <a:ext uri="{FF2B5EF4-FFF2-40B4-BE49-F238E27FC236}">
                  <a16:creationId xmlns:a16="http://schemas.microsoft.com/office/drawing/2014/main" id="{B45D3F0F-6905-4648-ACCF-086F550ED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2268761" y="5021451"/>
              <a:ext cx="1434960" cy="999274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grpSp>
          <p:nvGrpSpPr>
            <p:cNvPr id="246" name="グループ化 245">
              <a:extLst>
                <a:ext uri="{FF2B5EF4-FFF2-40B4-BE49-F238E27FC236}">
                  <a16:creationId xmlns:a16="http://schemas.microsoft.com/office/drawing/2014/main" id="{5619C4A2-6ADC-443D-832C-A9B87CC8B205}"/>
                </a:ext>
              </a:extLst>
            </p:cNvPr>
            <p:cNvGrpSpPr/>
            <p:nvPr/>
          </p:nvGrpSpPr>
          <p:grpSpPr>
            <a:xfrm>
              <a:off x="14010505" y="5301713"/>
              <a:ext cx="681357" cy="681357"/>
              <a:chOff x="3546048" y="521775"/>
              <a:chExt cx="628297" cy="628297"/>
            </a:xfrm>
          </p:grpSpPr>
          <p:sp>
            <p:nvSpPr>
              <p:cNvPr id="247" name="フリーフォーム: 図形 246">
                <a:extLst>
                  <a:ext uri="{FF2B5EF4-FFF2-40B4-BE49-F238E27FC236}">
                    <a16:creationId xmlns:a16="http://schemas.microsoft.com/office/drawing/2014/main" id="{D5A74117-EE39-479E-970A-09DE73E3B472}"/>
                  </a:ext>
                </a:extLst>
              </p:cNvPr>
              <p:cNvSpPr/>
              <p:nvPr/>
            </p:nvSpPr>
            <p:spPr>
              <a:xfrm>
                <a:off x="3546048" y="521775"/>
                <a:ext cx="628297" cy="628297"/>
              </a:xfrm>
              <a:custGeom>
                <a:avLst/>
                <a:gdLst>
                  <a:gd name="connsiteX0" fmla="*/ 1325675 w 1838839"/>
                  <a:gd name="connsiteY0" fmla="*/ 1838841 h 1838840"/>
                  <a:gd name="connsiteX1" fmla="*/ 513165 w 1838839"/>
                  <a:gd name="connsiteY1" fmla="*/ 1838841 h 1838840"/>
                  <a:gd name="connsiteX2" fmla="*/ 0 w 1838839"/>
                  <a:gd name="connsiteY2" fmla="*/ 1325676 h 1838840"/>
                  <a:gd name="connsiteX3" fmla="*/ 0 w 1838839"/>
                  <a:gd name="connsiteY3" fmla="*/ 513165 h 1838840"/>
                  <a:gd name="connsiteX4" fmla="*/ 513165 w 1838839"/>
                  <a:gd name="connsiteY4" fmla="*/ 0 h 1838840"/>
                  <a:gd name="connsiteX5" fmla="*/ 1325675 w 1838839"/>
                  <a:gd name="connsiteY5" fmla="*/ 0 h 1838840"/>
                  <a:gd name="connsiteX6" fmla="*/ 1838840 w 1838839"/>
                  <a:gd name="connsiteY6" fmla="*/ 513165 h 1838840"/>
                  <a:gd name="connsiteX7" fmla="*/ 1838840 w 1838839"/>
                  <a:gd name="connsiteY7" fmla="*/ 1325676 h 1838840"/>
                  <a:gd name="connsiteX8" fmla="*/ 1325675 w 1838839"/>
                  <a:gd name="connsiteY8" fmla="*/ 1838841 h 1838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38839" h="1838840">
                    <a:moveTo>
                      <a:pt x="1325675" y="1838841"/>
                    </a:moveTo>
                    <a:lnTo>
                      <a:pt x="513165" y="1838841"/>
                    </a:lnTo>
                    <a:cubicBezTo>
                      <a:pt x="230924" y="1838841"/>
                      <a:pt x="0" y="1607917"/>
                      <a:pt x="0" y="1325676"/>
                    </a:cubicBezTo>
                    <a:lnTo>
                      <a:pt x="0" y="513165"/>
                    </a:lnTo>
                    <a:cubicBezTo>
                      <a:pt x="0" y="230924"/>
                      <a:pt x="230924" y="0"/>
                      <a:pt x="513165" y="0"/>
                    </a:cubicBezTo>
                    <a:lnTo>
                      <a:pt x="1325675" y="0"/>
                    </a:lnTo>
                    <a:cubicBezTo>
                      <a:pt x="1607916" y="0"/>
                      <a:pt x="1838840" y="230924"/>
                      <a:pt x="1838840" y="513165"/>
                    </a:cubicBezTo>
                    <a:lnTo>
                      <a:pt x="1838840" y="1325676"/>
                    </a:lnTo>
                    <a:cubicBezTo>
                      <a:pt x="1838840" y="1607917"/>
                      <a:pt x="1607916" y="1838841"/>
                      <a:pt x="1325675" y="1838841"/>
                    </a:cubicBezTo>
                  </a:path>
                </a:pathLst>
              </a:custGeom>
              <a:solidFill>
                <a:srgbClr val="134186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48" name="フリーフォーム: 図形 247">
                <a:extLst>
                  <a:ext uri="{FF2B5EF4-FFF2-40B4-BE49-F238E27FC236}">
                    <a16:creationId xmlns:a16="http://schemas.microsoft.com/office/drawing/2014/main" id="{BAD0FBC6-2188-49E9-A2FC-2D70FCD6C272}"/>
                  </a:ext>
                </a:extLst>
              </p:cNvPr>
              <p:cNvSpPr/>
              <p:nvPr/>
            </p:nvSpPr>
            <p:spPr>
              <a:xfrm>
                <a:off x="3883575" y="572915"/>
                <a:ext cx="49679" cy="46757"/>
              </a:xfrm>
              <a:custGeom>
                <a:avLst/>
                <a:gdLst>
                  <a:gd name="connsiteX0" fmla="*/ 145397 w 145396"/>
                  <a:gd name="connsiteY0" fmla="*/ 64146 h 136843"/>
                  <a:gd name="connsiteX1" fmla="*/ 47040 w 145396"/>
                  <a:gd name="connsiteY1" fmla="*/ 0 h 136843"/>
                  <a:gd name="connsiteX2" fmla="*/ 0 w 145396"/>
                  <a:gd name="connsiteY2" fmla="*/ 72698 h 136843"/>
                  <a:gd name="connsiteX3" fmla="*/ 98357 w 145396"/>
                  <a:gd name="connsiteY3" fmla="*/ 136844 h 136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396" h="136843">
                    <a:moveTo>
                      <a:pt x="145397" y="64146"/>
                    </a:moveTo>
                    <a:lnTo>
                      <a:pt x="47040" y="0"/>
                    </a:lnTo>
                    <a:lnTo>
                      <a:pt x="0" y="72698"/>
                    </a:lnTo>
                    <a:lnTo>
                      <a:pt x="98357" y="136844"/>
                    </a:lnTo>
                    <a:close/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49" name="フリーフォーム: 図形 248">
                <a:extLst>
                  <a:ext uri="{FF2B5EF4-FFF2-40B4-BE49-F238E27FC236}">
                    <a16:creationId xmlns:a16="http://schemas.microsoft.com/office/drawing/2014/main" id="{0A6ACAE9-D323-4F4B-BD2C-C53AC635E42E}"/>
                  </a:ext>
                </a:extLst>
              </p:cNvPr>
              <p:cNvSpPr/>
              <p:nvPr/>
            </p:nvSpPr>
            <p:spPr>
              <a:xfrm>
                <a:off x="3674906" y="672274"/>
                <a:ext cx="142917" cy="134286"/>
              </a:xfrm>
              <a:custGeom>
                <a:avLst/>
                <a:gdLst>
                  <a:gd name="connsiteX0" fmla="*/ 165969 w 418275"/>
                  <a:gd name="connsiteY0" fmla="*/ 367768 h 393016"/>
                  <a:gd name="connsiteX1" fmla="*/ 187351 w 418275"/>
                  <a:gd name="connsiteY1" fmla="*/ 350663 h 393016"/>
                  <a:gd name="connsiteX2" fmla="*/ 418275 w 418275"/>
                  <a:gd name="connsiteY2" fmla="*/ 0 h 393016"/>
                  <a:gd name="connsiteX3" fmla="*/ 384064 w 418275"/>
                  <a:gd name="connsiteY3" fmla="*/ 4276 h 393016"/>
                  <a:gd name="connsiteX4" fmla="*/ 307090 w 418275"/>
                  <a:gd name="connsiteY4" fmla="*/ 42764 h 393016"/>
                  <a:gd name="connsiteX5" fmla="*/ 33402 w 418275"/>
                  <a:gd name="connsiteY5" fmla="*/ 307899 h 393016"/>
                  <a:gd name="connsiteX6" fmla="*/ 3467 w 418275"/>
                  <a:gd name="connsiteY6" fmla="*/ 359215 h 393016"/>
                  <a:gd name="connsiteX7" fmla="*/ 37678 w 418275"/>
                  <a:gd name="connsiteY7" fmla="*/ 384874 h 393016"/>
                  <a:gd name="connsiteX8" fmla="*/ 165969 w 418275"/>
                  <a:gd name="connsiteY8" fmla="*/ 367768 h 39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8275" h="393016">
                    <a:moveTo>
                      <a:pt x="165969" y="367768"/>
                    </a:moveTo>
                    <a:cubicBezTo>
                      <a:pt x="165969" y="367768"/>
                      <a:pt x="174522" y="359215"/>
                      <a:pt x="187351" y="350663"/>
                    </a:cubicBezTo>
                    <a:lnTo>
                      <a:pt x="418275" y="0"/>
                    </a:lnTo>
                    <a:cubicBezTo>
                      <a:pt x="405446" y="0"/>
                      <a:pt x="392617" y="4276"/>
                      <a:pt x="384064" y="4276"/>
                    </a:cubicBezTo>
                    <a:cubicBezTo>
                      <a:pt x="354130" y="8553"/>
                      <a:pt x="328472" y="21382"/>
                      <a:pt x="307090" y="42764"/>
                    </a:cubicBezTo>
                    <a:cubicBezTo>
                      <a:pt x="217286" y="132568"/>
                      <a:pt x="136035" y="235201"/>
                      <a:pt x="33402" y="307899"/>
                    </a:cubicBezTo>
                    <a:cubicBezTo>
                      <a:pt x="16296" y="320728"/>
                      <a:pt x="-9362" y="337833"/>
                      <a:pt x="3467" y="359215"/>
                    </a:cubicBezTo>
                    <a:cubicBezTo>
                      <a:pt x="7744" y="372044"/>
                      <a:pt x="20573" y="376321"/>
                      <a:pt x="37678" y="384874"/>
                    </a:cubicBezTo>
                    <a:cubicBezTo>
                      <a:pt x="80442" y="397703"/>
                      <a:pt x="131758" y="397703"/>
                      <a:pt x="165969" y="367768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0" name="フリーフォーム: 図形 249">
                <a:extLst>
                  <a:ext uri="{FF2B5EF4-FFF2-40B4-BE49-F238E27FC236}">
                    <a16:creationId xmlns:a16="http://schemas.microsoft.com/office/drawing/2014/main" id="{6B625879-6F04-4ACC-AF94-A275D70D5846}"/>
                  </a:ext>
                </a:extLst>
              </p:cNvPr>
              <p:cNvSpPr/>
              <p:nvPr/>
            </p:nvSpPr>
            <p:spPr>
              <a:xfrm>
                <a:off x="3712620" y="808162"/>
                <a:ext cx="55524" cy="74519"/>
              </a:xfrm>
              <a:custGeom>
                <a:avLst/>
                <a:gdLst>
                  <a:gd name="connsiteX0" fmla="*/ 162502 w 162502"/>
                  <a:gd name="connsiteY0" fmla="*/ 115462 h 218095"/>
                  <a:gd name="connsiteX1" fmla="*/ 102633 w 162502"/>
                  <a:gd name="connsiteY1" fmla="*/ 0 h 218095"/>
                  <a:gd name="connsiteX2" fmla="*/ 98357 w 162502"/>
                  <a:gd name="connsiteY2" fmla="*/ 4276 h 218095"/>
                  <a:gd name="connsiteX3" fmla="*/ 0 w 162502"/>
                  <a:gd name="connsiteY3" fmla="*/ 153949 h 218095"/>
                  <a:gd name="connsiteX4" fmla="*/ 98357 w 162502"/>
                  <a:gd name="connsiteY4" fmla="*/ 218095 h 218095"/>
                  <a:gd name="connsiteX5" fmla="*/ 162502 w 162502"/>
                  <a:gd name="connsiteY5" fmla="*/ 115462 h 218095"/>
                  <a:gd name="connsiteX6" fmla="*/ 162502 w 162502"/>
                  <a:gd name="connsiteY6" fmla="*/ 115462 h 218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502" h="218095">
                    <a:moveTo>
                      <a:pt x="162502" y="115462"/>
                    </a:moveTo>
                    <a:cubicBezTo>
                      <a:pt x="124015" y="89804"/>
                      <a:pt x="98357" y="47040"/>
                      <a:pt x="102633" y="0"/>
                    </a:cubicBezTo>
                    <a:cubicBezTo>
                      <a:pt x="102633" y="0"/>
                      <a:pt x="98357" y="0"/>
                      <a:pt x="98357" y="4276"/>
                    </a:cubicBezTo>
                    <a:lnTo>
                      <a:pt x="0" y="153949"/>
                    </a:lnTo>
                    <a:lnTo>
                      <a:pt x="98357" y="218095"/>
                    </a:lnTo>
                    <a:lnTo>
                      <a:pt x="162502" y="115462"/>
                    </a:lnTo>
                    <a:cubicBezTo>
                      <a:pt x="162502" y="115462"/>
                      <a:pt x="162502" y="115462"/>
                      <a:pt x="162502" y="115462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1" name="フリーフォーム: 図形 250">
                <a:extLst>
                  <a:ext uri="{FF2B5EF4-FFF2-40B4-BE49-F238E27FC236}">
                    <a16:creationId xmlns:a16="http://schemas.microsoft.com/office/drawing/2014/main" id="{D469B139-FDA5-482E-ABC5-EDE95EFAC915}"/>
                  </a:ext>
                </a:extLst>
              </p:cNvPr>
              <p:cNvSpPr/>
              <p:nvPr/>
            </p:nvSpPr>
            <p:spPr>
              <a:xfrm>
                <a:off x="3780645" y="854919"/>
                <a:ext cx="47406" cy="62121"/>
              </a:xfrm>
              <a:custGeom>
                <a:avLst/>
                <a:gdLst>
                  <a:gd name="connsiteX0" fmla="*/ 138744 w 138744"/>
                  <a:gd name="connsiteY0" fmla="*/ 25658 h 181809"/>
                  <a:gd name="connsiteX1" fmla="*/ 27559 w 138744"/>
                  <a:gd name="connsiteY1" fmla="*/ 0 h 181809"/>
                  <a:gd name="connsiteX2" fmla="*/ 1900 w 138744"/>
                  <a:gd name="connsiteY2" fmla="*/ 111186 h 181809"/>
                  <a:gd name="connsiteX3" fmla="*/ 44664 w 138744"/>
                  <a:gd name="connsiteY3" fmla="*/ 179608 h 181809"/>
                  <a:gd name="connsiteX4" fmla="*/ 117362 w 138744"/>
                  <a:gd name="connsiteY4" fmla="*/ 141120 h 181809"/>
                  <a:gd name="connsiteX5" fmla="*/ 138744 w 138744"/>
                  <a:gd name="connsiteY5" fmla="*/ 25658 h 18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744" h="181809">
                    <a:moveTo>
                      <a:pt x="138744" y="25658"/>
                    </a:moveTo>
                    <a:cubicBezTo>
                      <a:pt x="100257" y="21382"/>
                      <a:pt x="66046" y="12829"/>
                      <a:pt x="27559" y="0"/>
                    </a:cubicBezTo>
                    <a:cubicBezTo>
                      <a:pt x="19006" y="38487"/>
                      <a:pt x="10453" y="76975"/>
                      <a:pt x="1900" y="111186"/>
                    </a:cubicBezTo>
                    <a:cubicBezTo>
                      <a:pt x="-6652" y="141120"/>
                      <a:pt x="14729" y="171055"/>
                      <a:pt x="44664" y="179608"/>
                    </a:cubicBezTo>
                    <a:cubicBezTo>
                      <a:pt x="78875" y="188160"/>
                      <a:pt x="113086" y="171055"/>
                      <a:pt x="117362" y="141120"/>
                    </a:cubicBezTo>
                    <a:cubicBezTo>
                      <a:pt x="125915" y="106909"/>
                      <a:pt x="130192" y="68422"/>
                      <a:pt x="138744" y="25658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2" name="フリーフォーム: 図形 251">
                <a:extLst>
                  <a:ext uri="{FF2B5EF4-FFF2-40B4-BE49-F238E27FC236}">
                    <a16:creationId xmlns:a16="http://schemas.microsoft.com/office/drawing/2014/main" id="{DE78567B-EAD9-4562-999A-D4280632579C}"/>
                  </a:ext>
                </a:extLst>
              </p:cNvPr>
              <p:cNvSpPr/>
              <p:nvPr/>
            </p:nvSpPr>
            <p:spPr>
              <a:xfrm>
                <a:off x="3834708" y="865147"/>
                <a:ext cx="43023" cy="64476"/>
              </a:xfrm>
              <a:custGeom>
                <a:avLst/>
                <a:gdLst>
                  <a:gd name="connsiteX0" fmla="*/ 1900 w 125915"/>
                  <a:gd name="connsiteY0" fmla="*/ 124015 h 188702"/>
                  <a:gd name="connsiteX1" fmla="*/ 44664 w 125915"/>
                  <a:gd name="connsiteY1" fmla="*/ 188161 h 188702"/>
                  <a:gd name="connsiteX2" fmla="*/ 108810 w 125915"/>
                  <a:gd name="connsiteY2" fmla="*/ 136844 h 188702"/>
                  <a:gd name="connsiteX3" fmla="*/ 125915 w 125915"/>
                  <a:gd name="connsiteY3" fmla="*/ 12829 h 188702"/>
                  <a:gd name="connsiteX4" fmla="*/ 19006 w 125915"/>
                  <a:gd name="connsiteY4" fmla="*/ 0 h 188702"/>
                  <a:gd name="connsiteX5" fmla="*/ 1900 w 125915"/>
                  <a:gd name="connsiteY5" fmla="*/ 124015 h 188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5915" h="188702">
                    <a:moveTo>
                      <a:pt x="1900" y="124015"/>
                    </a:moveTo>
                    <a:cubicBezTo>
                      <a:pt x="-6652" y="153949"/>
                      <a:pt x="14730" y="183884"/>
                      <a:pt x="44664" y="188161"/>
                    </a:cubicBezTo>
                    <a:cubicBezTo>
                      <a:pt x="74599" y="192437"/>
                      <a:pt x="104533" y="171055"/>
                      <a:pt x="108810" y="136844"/>
                    </a:cubicBezTo>
                    <a:cubicBezTo>
                      <a:pt x="117362" y="98357"/>
                      <a:pt x="121639" y="55593"/>
                      <a:pt x="125915" y="12829"/>
                    </a:cubicBezTo>
                    <a:cubicBezTo>
                      <a:pt x="91704" y="8553"/>
                      <a:pt x="57493" y="8553"/>
                      <a:pt x="19006" y="0"/>
                    </a:cubicBezTo>
                    <a:cubicBezTo>
                      <a:pt x="19006" y="47040"/>
                      <a:pt x="10453" y="85527"/>
                      <a:pt x="1900" y="124015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3" name="フリーフォーム: 図形 252">
                <a:extLst>
                  <a:ext uri="{FF2B5EF4-FFF2-40B4-BE49-F238E27FC236}">
                    <a16:creationId xmlns:a16="http://schemas.microsoft.com/office/drawing/2014/main" id="{C03CAC6E-DAAA-4C1D-948F-03460C1AE9CF}"/>
                  </a:ext>
                </a:extLst>
              </p:cNvPr>
              <p:cNvSpPr/>
              <p:nvPr/>
            </p:nvSpPr>
            <p:spPr>
              <a:xfrm>
                <a:off x="3764997" y="672274"/>
                <a:ext cx="333367" cy="225623"/>
              </a:xfrm>
              <a:custGeom>
                <a:avLst/>
                <a:gdLst>
                  <a:gd name="connsiteX0" fmla="*/ 958562 w 975667"/>
                  <a:gd name="connsiteY0" fmla="*/ 320728 h 660332"/>
                  <a:gd name="connsiteX1" fmla="*/ 885864 w 975667"/>
                  <a:gd name="connsiteY1" fmla="*/ 299346 h 660332"/>
                  <a:gd name="connsiteX2" fmla="*/ 757573 w 975667"/>
                  <a:gd name="connsiteY2" fmla="*/ 230924 h 660332"/>
                  <a:gd name="connsiteX3" fmla="*/ 629282 w 975667"/>
                  <a:gd name="connsiteY3" fmla="*/ 132568 h 660332"/>
                  <a:gd name="connsiteX4" fmla="*/ 496714 w 975667"/>
                  <a:gd name="connsiteY4" fmla="*/ 38487 h 660332"/>
                  <a:gd name="connsiteX5" fmla="*/ 483885 w 975667"/>
                  <a:gd name="connsiteY5" fmla="*/ 34211 h 660332"/>
                  <a:gd name="connsiteX6" fmla="*/ 402634 w 975667"/>
                  <a:gd name="connsiteY6" fmla="*/ 0 h 660332"/>
                  <a:gd name="connsiteX7" fmla="*/ 389805 w 975667"/>
                  <a:gd name="connsiteY7" fmla="*/ 17105 h 660332"/>
                  <a:gd name="connsiteX8" fmla="*/ 389805 w 975667"/>
                  <a:gd name="connsiteY8" fmla="*/ 17105 h 660332"/>
                  <a:gd name="connsiteX9" fmla="*/ 265790 w 975667"/>
                  <a:gd name="connsiteY9" fmla="*/ 209542 h 660332"/>
                  <a:gd name="connsiteX10" fmla="*/ 201644 w 975667"/>
                  <a:gd name="connsiteY10" fmla="*/ 307899 h 660332"/>
                  <a:gd name="connsiteX11" fmla="*/ 201644 w 975667"/>
                  <a:gd name="connsiteY11" fmla="*/ 307899 h 660332"/>
                  <a:gd name="connsiteX12" fmla="*/ 201644 w 975667"/>
                  <a:gd name="connsiteY12" fmla="*/ 307899 h 660332"/>
                  <a:gd name="connsiteX13" fmla="*/ 248684 w 975667"/>
                  <a:gd name="connsiteY13" fmla="*/ 312175 h 660332"/>
                  <a:gd name="connsiteX14" fmla="*/ 287172 w 975667"/>
                  <a:gd name="connsiteY14" fmla="*/ 316451 h 660332"/>
                  <a:gd name="connsiteX15" fmla="*/ 347041 w 975667"/>
                  <a:gd name="connsiteY15" fmla="*/ 320728 h 660332"/>
                  <a:gd name="connsiteX16" fmla="*/ 505267 w 975667"/>
                  <a:gd name="connsiteY16" fmla="*/ 252306 h 660332"/>
                  <a:gd name="connsiteX17" fmla="*/ 535201 w 975667"/>
                  <a:gd name="connsiteY17" fmla="*/ 256582 h 660332"/>
                  <a:gd name="connsiteX18" fmla="*/ 530925 w 975667"/>
                  <a:gd name="connsiteY18" fmla="*/ 290793 h 660332"/>
                  <a:gd name="connsiteX19" fmla="*/ 347041 w 975667"/>
                  <a:gd name="connsiteY19" fmla="*/ 372044 h 660332"/>
                  <a:gd name="connsiteX20" fmla="*/ 342765 w 975667"/>
                  <a:gd name="connsiteY20" fmla="*/ 372044 h 660332"/>
                  <a:gd name="connsiteX21" fmla="*/ 214474 w 975667"/>
                  <a:gd name="connsiteY21" fmla="*/ 359215 h 660332"/>
                  <a:gd name="connsiteX22" fmla="*/ 163157 w 975667"/>
                  <a:gd name="connsiteY22" fmla="*/ 350663 h 660332"/>
                  <a:gd name="connsiteX23" fmla="*/ 124670 w 975667"/>
                  <a:gd name="connsiteY23" fmla="*/ 342110 h 660332"/>
                  <a:gd name="connsiteX24" fmla="*/ 81906 w 975667"/>
                  <a:gd name="connsiteY24" fmla="*/ 333557 h 660332"/>
                  <a:gd name="connsiteX25" fmla="*/ 655 w 975667"/>
                  <a:gd name="connsiteY25" fmla="*/ 393426 h 660332"/>
                  <a:gd name="connsiteX26" fmla="*/ 39142 w 975667"/>
                  <a:gd name="connsiteY26" fmla="*/ 474677 h 660332"/>
                  <a:gd name="connsiteX27" fmla="*/ 107564 w 975667"/>
                  <a:gd name="connsiteY27" fmla="*/ 496059 h 660332"/>
                  <a:gd name="connsiteX28" fmla="*/ 218750 w 975667"/>
                  <a:gd name="connsiteY28" fmla="*/ 517441 h 660332"/>
                  <a:gd name="connsiteX29" fmla="*/ 364147 w 975667"/>
                  <a:gd name="connsiteY29" fmla="*/ 530270 h 660332"/>
                  <a:gd name="connsiteX30" fmla="*/ 376976 w 975667"/>
                  <a:gd name="connsiteY30" fmla="*/ 538823 h 660332"/>
                  <a:gd name="connsiteX31" fmla="*/ 548031 w 975667"/>
                  <a:gd name="connsiteY31" fmla="*/ 658561 h 660332"/>
                  <a:gd name="connsiteX32" fmla="*/ 642111 w 975667"/>
                  <a:gd name="connsiteY32" fmla="*/ 654285 h 660332"/>
                  <a:gd name="connsiteX33" fmla="*/ 727638 w 975667"/>
                  <a:gd name="connsiteY33" fmla="*/ 624351 h 660332"/>
                  <a:gd name="connsiteX34" fmla="*/ 783231 w 975667"/>
                  <a:gd name="connsiteY34" fmla="*/ 615798 h 660332"/>
                  <a:gd name="connsiteX35" fmla="*/ 915799 w 975667"/>
                  <a:gd name="connsiteY35" fmla="*/ 650009 h 660332"/>
                  <a:gd name="connsiteX36" fmla="*/ 941457 w 975667"/>
                  <a:gd name="connsiteY36" fmla="*/ 466125 h 660332"/>
                  <a:gd name="connsiteX37" fmla="*/ 975668 w 975667"/>
                  <a:gd name="connsiteY37" fmla="*/ 337833 h 660332"/>
                  <a:gd name="connsiteX38" fmla="*/ 958562 w 975667"/>
                  <a:gd name="connsiteY38" fmla="*/ 320728 h 660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975667" h="660332">
                    <a:moveTo>
                      <a:pt x="958562" y="320728"/>
                    </a:moveTo>
                    <a:cubicBezTo>
                      <a:pt x="932904" y="312175"/>
                      <a:pt x="911522" y="307899"/>
                      <a:pt x="885864" y="299346"/>
                    </a:cubicBezTo>
                    <a:cubicBezTo>
                      <a:pt x="838824" y="282241"/>
                      <a:pt x="796060" y="260859"/>
                      <a:pt x="757573" y="230924"/>
                    </a:cubicBezTo>
                    <a:cubicBezTo>
                      <a:pt x="719085" y="200989"/>
                      <a:pt x="672045" y="162502"/>
                      <a:pt x="629282" y="132568"/>
                    </a:cubicBezTo>
                    <a:cubicBezTo>
                      <a:pt x="569412" y="85527"/>
                      <a:pt x="513820" y="47040"/>
                      <a:pt x="496714" y="38487"/>
                    </a:cubicBezTo>
                    <a:cubicBezTo>
                      <a:pt x="492438" y="38487"/>
                      <a:pt x="488161" y="34211"/>
                      <a:pt x="483885" y="34211"/>
                    </a:cubicBezTo>
                    <a:cubicBezTo>
                      <a:pt x="466779" y="25658"/>
                      <a:pt x="436845" y="8553"/>
                      <a:pt x="402634" y="0"/>
                    </a:cubicBezTo>
                    <a:lnTo>
                      <a:pt x="389805" y="17105"/>
                    </a:lnTo>
                    <a:cubicBezTo>
                      <a:pt x="389805" y="17105"/>
                      <a:pt x="389805" y="17105"/>
                      <a:pt x="389805" y="17105"/>
                    </a:cubicBezTo>
                    <a:lnTo>
                      <a:pt x="265790" y="209542"/>
                    </a:lnTo>
                    <a:lnTo>
                      <a:pt x="201644" y="307899"/>
                    </a:lnTo>
                    <a:lnTo>
                      <a:pt x="201644" y="307899"/>
                    </a:lnTo>
                    <a:lnTo>
                      <a:pt x="201644" y="307899"/>
                    </a:lnTo>
                    <a:cubicBezTo>
                      <a:pt x="218750" y="307899"/>
                      <a:pt x="231579" y="312175"/>
                      <a:pt x="248684" y="312175"/>
                    </a:cubicBezTo>
                    <a:cubicBezTo>
                      <a:pt x="261514" y="312175"/>
                      <a:pt x="274343" y="316451"/>
                      <a:pt x="287172" y="316451"/>
                    </a:cubicBezTo>
                    <a:cubicBezTo>
                      <a:pt x="308554" y="316451"/>
                      <a:pt x="325659" y="320728"/>
                      <a:pt x="347041" y="320728"/>
                    </a:cubicBezTo>
                    <a:cubicBezTo>
                      <a:pt x="402634" y="325004"/>
                      <a:pt x="458227" y="299346"/>
                      <a:pt x="505267" y="252306"/>
                    </a:cubicBezTo>
                    <a:cubicBezTo>
                      <a:pt x="513820" y="243753"/>
                      <a:pt x="526649" y="243753"/>
                      <a:pt x="535201" y="256582"/>
                    </a:cubicBezTo>
                    <a:cubicBezTo>
                      <a:pt x="543754" y="269411"/>
                      <a:pt x="539478" y="282241"/>
                      <a:pt x="530925" y="290793"/>
                    </a:cubicBezTo>
                    <a:cubicBezTo>
                      <a:pt x="475332" y="346386"/>
                      <a:pt x="415463" y="376321"/>
                      <a:pt x="347041" y="372044"/>
                    </a:cubicBezTo>
                    <a:cubicBezTo>
                      <a:pt x="347041" y="372044"/>
                      <a:pt x="342765" y="372044"/>
                      <a:pt x="342765" y="372044"/>
                    </a:cubicBezTo>
                    <a:cubicBezTo>
                      <a:pt x="300001" y="367768"/>
                      <a:pt x="257237" y="367768"/>
                      <a:pt x="214474" y="359215"/>
                    </a:cubicBezTo>
                    <a:cubicBezTo>
                      <a:pt x="205921" y="359215"/>
                      <a:pt x="167433" y="350663"/>
                      <a:pt x="163157" y="350663"/>
                    </a:cubicBezTo>
                    <a:cubicBezTo>
                      <a:pt x="150328" y="350663"/>
                      <a:pt x="137499" y="346386"/>
                      <a:pt x="124670" y="342110"/>
                    </a:cubicBezTo>
                    <a:cubicBezTo>
                      <a:pt x="111841" y="337833"/>
                      <a:pt x="94735" y="337833"/>
                      <a:pt x="81906" y="333557"/>
                    </a:cubicBezTo>
                    <a:cubicBezTo>
                      <a:pt x="43419" y="325004"/>
                      <a:pt x="9208" y="350663"/>
                      <a:pt x="655" y="393426"/>
                    </a:cubicBezTo>
                    <a:cubicBezTo>
                      <a:pt x="-3621" y="423361"/>
                      <a:pt x="13484" y="457572"/>
                      <a:pt x="39142" y="474677"/>
                    </a:cubicBezTo>
                    <a:cubicBezTo>
                      <a:pt x="51971" y="483230"/>
                      <a:pt x="99011" y="491783"/>
                      <a:pt x="107564" y="496059"/>
                    </a:cubicBezTo>
                    <a:cubicBezTo>
                      <a:pt x="146052" y="504612"/>
                      <a:pt x="184539" y="508888"/>
                      <a:pt x="218750" y="517441"/>
                    </a:cubicBezTo>
                    <a:cubicBezTo>
                      <a:pt x="265790" y="525994"/>
                      <a:pt x="364147" y="530270"/>
                      <a:pt x="364147" y="530270"/>
                    </a:cubicBezTo>
                    <a:cubicBezTo>
                      <a:pt x="368423" y="530270"/>
                      <a:pt x="372699" y="534547"/>
                      <a:pt x="376976" y="538823"/>
                    </a:cubicBezTo>
                    <a:cubicBezTo>
                      <a:pt x="428292" y="620074"/>
                      <a:pt x="479609" y="654285"/>
                      <a:pt x="548031" y="658561"/>
                    </a:cubicBezTo>
                    <a:cubicBezTo>
                      <a:pt x="577965" y="662838"/>
                      <a:pt x="607900" y="658561"/>
                      <a:pt x="642111" y="654285"/>
                    </a:cubicBezTo>
                    <a:cubicBezTo>
                      <a:pt x="672045" y="650009"/>
                      <a:pt x="697704" y="632903"/>
                      <a:pt x="727638" y="624351"/>
                    </a:cubicBezTo>
                    <a:cubicBezTo>
                      <a:pt x="744744" y="615798"/>
                      <a:pt x="761849" y="611521"/>
                      <a:pt x="783231" y="615798"/>
                    </a:cubicBezTo>
                    <a:cubicBezTo>
                      <a:pt x="804613" y="615798"/>
                      <a:pt x="894417" y="645732"/>
                      <a:pt x="915799" y="650009"/>
                    </a:cubicBezTo>
                    <a:cubicBezTo>
                      <a:pt x="915799" y="650009"/>
                      <a:pt x="937180" y="474677"/>
                      <a:pt x="941457" y="466125"/>
                    </a:cubicBezTo>
                    <a:cubicBezTo>
                      <a:pt x="950010" y="419084"/>
                      <a:pt x="962839" y="376321"/>
                      <a:pt x="975668" y="337833"/>
                    </a:cubicBezTo>
                    <a:cubicBezTo>
                      <a:pt x="971391" y="325004"/>
                      <a:pt x="975668" y="325004"/>
                      <a:pt x="958562" y="320728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4" name="フリーフォーム: 図形 253">
                <a:extLst>
                  <a:ext uri="{FF2B5EF4-FFF2-40B4-BE49-F238E27FC236}">
                    <a16:creationId xmlns:a16="http://schemas.microsoft.com/office/drawing/2014/main" id="{70EC6245-60DF-43CE-8F13-CB7208F7F7AC}"/>
                  </a:ext>
                </a:extLst>
              </p:cNvPr>
              <p:cNvSpPr/>
              <p:nvPr/>
            </p:nvSpPr>
            <p:spPr>
              <a:xfrm>
                <a:off x="3769605" y="610905"/>
                <a:ext cx="140271" cy="163650"/>
              </a:xfrm>
              <a:custGeom>
                <a:avLst/>
                <a:gdLst>
                  <a:gd name="connsiteX0" fmla="*/ 8553 w 410531"/>
                  <a:gd name="connsiteY0" fmla="*/ 457572 h 478954"/>
                  <a:gd name="connsiteX1" fmla="*/ 0 w 410531"/>
                  <a:gd name="connsiteY1" fmla="*/ 474677 h 478954"/>
                  <a:gd name="connsiteX2" fmla="*/ 85527 w 410531"/>
                  <a:gd name="connsiteY2" fmla="*/ 470401 h 478954"/>
                  <a:gd name="connsiteX3" fmla="*/ 85527 w 410531"/>
                  <a:gd name="connsiteY3" fmla="*/ 470401 h 478954"/>
                  <a:gd name="connsiteX4" fmla="*/ 141120 w 410531"/>
                  <a:gd name="connsiteY4" fmla="*/ 478954 h 478954"/>
                  <a:gd name="connsiteX5" fmla="*/ 410532 w 410531"/>
                  <a:gd name="connsiteY5" fmla="*/ 64146 h 478954"/>
                  <a:gd name="connsiteX6" fmla="*/ 312175 w 410531"/>
                  <a:gd name="connsiteY6" fmla="*/ 0 h 478954"/>
                  <a:gd name="connsiteX7" fmla="*/ 8553 w 410531"/>
                  <a:gd name="connsiteY7" fmla="*/ 457572 h 478954"/>
                  <a:gd name="connsiteX8" fmla="*/ 8553 w 410531"/>
                  <a:gd name="connsiteY8" fmla="*/ 457572 h 478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0531" h="478954">
                    <a:moveTo>
                      <a:pt x="8553" y="457572"/>
                    </a:moveTo>
                    <a:lnTo>
                      <a:pt x="0" y="474677"/>
                    </a:lnTo>
                    <a:cubicBezTo>
                      <a:pt x="0" y="474677"/>
                      <a:pt x="42764" y="461849"/>
                      <a:pt x="85527" y="470401"/>
                    </a:cubicBezTo>
                    <a:lnTo>
                      <a:pt x="85527" y="470401"/>
                    </a:lnTo>
                    <a:cubicBezTo>
                      <a:pt x="102633" y="474677"/>
                      <a:pt x="124015" y="474677"/>
                      <a:pt x="141120" y="478954"/>
                    </a:cubicBezTo>
                    <a:lnTo>
                      <a:pt x="410532" y="64146"/>
                    </a:lnTo>
                    <a:lnTo>
                      <a:pt x="312175" y="0"/>
                    </a:lnTo>
                    <a:lnTo>
                      <a:pt x="8553" y="457572"/>
                    </a:lnTo>
                    <a:cubicBezTo>
                      <a:pt x="8553" y="457572"/>
                      <a:pt x="8553" y="457572"/>
                      <a:pt x="8553" y="457572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5" name="フリーフォーム: 図形 254">
                <a:extLst>
                  <a:ext uri="{FF2B5EF4-FFF2-40B4-BE49-F238E27FC236}">
                    <a16:creationId xmlns:a16="http://schemas.microsoft.com/office/drawing/2014/main" id="{11DA14AC-1FB6-41FE-AE39-C7C57BDC907E}"/>
                  </a:ext>
                </a:extLst>
              </p:cNvPr>
              <p:cNvSpPr/>
              <p:nvPr/>
            </p:nvSpPr>
            <p:spPr>
              <a:xfrm>
                <a:off x="3660018" y="876836"/>
                <a:ext cx="74519" cy="96436"/>
              </a:xfrm>
              <a:custGeom>
                <a:avLst/>
                <a:gdLst>
                  <a:gd name="connsiteX0" fmla="*/ 111186 w 218094"/>
                  <a:gd name="connsiteY0" fmla="*/ 34211 h 282240"/>
                  <a:gd name="connsiteX1" fmla="*/ 4276 w 218094"/>
                  <a:gd name="connsiteY1" fmla="*/ 81251 h 282240"/>
                  <a:gd name="connsiteX2" fmla="*/ 0 w 218094"/>
                  <a:gd name="connsiteY2" fmla="*/ 85527 h 282240"/>
                  <a:gd name="connsiteX3" fmla="*/ 0 w 218094"/>
                  <a:gd name="connsiteY3" fmla="*/ 89804 h 282240"/>
                  <a:gd name="connsiteX4" fmla="*/ 8553 w 218094"/>
                  <a:gd name="connsiteY4" fmla="*/ 226648 h 282240"/>
                  <a:gd name="connsiteX5" fmla="*/ 12829 w 218094"/>
                  <a:gd name="connsiteY5" fmla="*/ 273688 h 282240"/>
                  <a:gd name="connsiteX6" fmla="*/ 68422 w 218094"/>
                  <a:gd name="connsiteY6" fmla="*/ 179608 h 282240"/>
                  <a:gd name="connsiteX7" fmla="*/ 68422 w 218094"/>
                  <a:gd name="connsiteY7" fmla="*/ 162502 h 282240"/>
                  <a:gd name="connsiteX8" fmla="*/ 68422 w 218094"/>
                  <a:gd name="connsiteY8" fmla="*/ 141120 h 282240"/>
                  <a:gd name="connsiteX9" fmla="*/ 81251 w 218094"/>
                  <a:gd name="connsiteY9" fmla="*/ 124015 h 282240"/>
                  <a:gd name="connsiteX10" fmla="*/ 128291 w 218094"/>
                  <a:gd name="connsiteY10" fmla="*/ 132568 h 282240"/>
                  <a:gd name="connsiteX11" fmla="*/ 106909 w 218094"/>
                  <a:gd name="connsiteY11" fmla="*/ 183884 h 282240"/>
                  <a:gd name="connsiteX12" fmla="*/ 94080 w 218094"/>
                  <a:gd name="connsiteY12" fmla="*/ 183884 h 282240"/>
                  <a:gd name="connsiteX13" fmla="*/ 85527 w 218094"/>
                  <a:gd name="connsiteY13" fmla="*/ 192437 h 282240"/>
                  <a:gd name="connsiteX14" fmla="*/ 29935 w 218094"/>
                  <a:gd name="connsiteY14" fmla="*/ 282241 h 282240"/>
                  <a:gd name="connsiteX15" fmla="*/ 145397 w 218094"/>
                  <a:gd name="connsiteY15" fmla="*/ 235201 h 282240"/>
                  <a:gd name="connsiteX16" fmla="*/ 196713 w 218094"/>
                  <a:gd name="connsiteY16" fmla="*/ 213819 h 282240"/>
                  <a:gd name="connsiteX17" fmla="*/ 200989 w 218094"/>
                  <a:gd name="connsiteY17" fmla="*/ 209542 h 282240"/>
                  <a:gd name="connsiteX18" fmla="*/ 200989 w 218094"/>
                  <a:gd name="connsiteY18" fmla="*/ 166778 h 282240"/>
                  <a:gd name="connsiteX19" fmla="*/ 200989 w 218094"/>
                  <a:gd name="connsiteY19" fmla="*/ 89804 h 282240"/>
                  <a:gd name="connsiteX20" fmla="*/ 205266 w 218094"/>
                  <a:gd name="connsiteY20" fmla="*/ 68422 h 282240"/>
                  <a:gd name="connsiteX21" fmla="*/ 218095 w 218094"/>
                  <a:gd name="connsiteY21" fmla="*/ 47040 h 282240"/>
                  <a:gd name="connsiteX22" fmla="*/ 141120 w 218094"/>
                  <a:gd name="connsiteY22" fmla="*/ 0 h 282240"/>
                  <a:gd name="connsiteX23" fmla="*/ 111186 w 218094"/>
                  <a:gd name="connsiteY23" fmla="*/ 34211 h 28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18094" h="282240">
                    <a:moveTo>
                      <a:pt x="111186" y="34211"/>
                    </a:moveTo>
                    <a:cubicBezTo>
                      <a:pt x="94080" y="42764"/>
                      <a:pt x="4276" y="81251"/>
                      <a:pt x="4276" y="81251"/>
                    </a:cubicBezTo>
                    <a:cubicBezTo>
                      <a:pt x="4276" y="81251"/>
                      <a:pt x="0" y="81251"/>
                      <a:pt x="0" y="85527"/>
                    </a:cubicBezTo>
                    <a:cubicBezTo>
                      <a:pt x="0" y="85527"/>
                      <a:pt x="0" y="89804"/>
                      <a:pt x="0" y="89804"/>
                    </a:cubicBezTo>
                    <a:cubicBezTo>
                      <a:pt x="0" y="89804"/>
                      <a:pt x="8553" y="226648"/>
                      <a:pt x="8553" y="226648"/>
                    </a:cubicBezTo>
                    <a:lnTo>
                      <a:pt x="12829" y="273688"/>
                    </a:lnTo>
                    <a:cubicBezTo>
                      <a:pt x="17105" y="265135"/>
                      <a:pt x="68422" y="188160"/>
                      <a:pt x="68422" y="179608"/>
                    </a:cubicBezTo>
                    <a:cubicBezTo>
                      <a:pt x="72698" y="171055"/>
                      <a:pt x="72698" y="171055"/>
                      <a:pt x="68422" y="162502"/>
                    </a:cubicBezTo>
                    <a:cubicBezTo>
                      <a:pt x="68422" y="158226"/>
                      <a:pt x="64146" y="149673"/>
                      <a:pt x="68422" y="141120"/>
                    </a:cubicBezTo>
                    <a:cubicBezTo>
                      <a:pt x="72698" y="132568"/>
                      <a:pt x="81251" y="124015"/>
                      <a:pt x="81251" y="124015"/>
                    </a:cubicBezTo>
                    <a:cubicBezTo>
                      <a:pt x="98357" y="115462"/>
                      <a:pt x="115462" y="119738"/>
                      <a:pt x="128291" y="132568"/>
                    </a:cubicBezTo>
                    <a:cubicBezTo>
                      <a:pt x="141120" y="149673"/>
                      <a:pt x="128291" y="179608"/>
                      <a:pt x="106909" y="183884"/>
                    </a:cubicBezTo>
                    <a:cubicBezTo>
                      <a:pt x="102633" y="183884"/>
                      <a:pt x="98357" y="183884"/>
                      <a:pt x="94080" y="183884"/>
                    </a:cubicBezTo>
                    <a:cubicBezTo>
                      <a:pt x="89804" y="183884"/>
                      <a:pt x="85527" y="188160"/>
                      <a:pt x="85527" y="192437"/>
                    </a:cubicBezTo>
                    <a:cubicBezTo>
                      <a:pt x="76975" y="209542"/>
                      <a:pt x="29935" y="282241"/>
                      <a:pt x="29935" y="282241"/>
                    </a:cubicBezTo>
                    <a:lnTo>
                      <a:pt x="145397" y="235201"/>
                    </a:lnTo>
                    <a:lnTo>
                      <a:pt x="196713" y="213819"/>
                    </a:lnTo>
                    <a:cubicBezTo>
                      <a:pt x="196713" y="213819"/>
                      <a:pt x="200989" y="213819"/>
                      <a:pt x="200989" y="209542"/>
                    </a:cubicBezTo>
                    <a:lnTo>
                      <a:pt x="200989" y="166778"/>
                    </a:lnTo>
                    <a:lnTo>
                      <a:pt x="200989" y="89804"/>
                    </a:lnTo>
                    <a:cubicBezTo>
                      <a:pt x="200989" y="89804"/>
                      <a:pt x="200989" y="76975"/>
                      <a:pt x="205266" y="68422"/>
                    </a:cubicBezTo>
                    <a:cubicBezTo>
                      <a:pt x="209542" y="59869"/>
                      <a:pt x="218095" y="47040"/>
                      <a:pt x="218095" y="47040"/>
                    </a:cubicBezTo>
                    <a:lnTo>
                      <a:pt x="141120" y="0"/>
                    </a:lnTo>
                    <a:cubicBezTo>
                      <a:pt x="141120" y="4276"/>
                      <a:pt x="128291" y="25658"/>
                      <a:pt x="111186" y="34211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6" name="フリーフォーム: 図形 255">
                <a:extLst>
                  <a:ext uri="{FF2B5EF4-FFF2-40B4-BE49-F238E27FC236}">
                    <a16:creationId xmlns:a16="http://schemas.microsoft.com/office/drawing/2014/main" id="{08429C96-78FC-4535-AF2C-3CDFFC5C5B1B}"/>
                  </a:ext>
                </a:extLst>
              </p:cNvPr>
              <p:cNvSpPr/>
              <p:nvPr/>
            </p:nvSpPr>
            <p:spPr>
              <a:xfrm>
                <a:off x="3589672" y="987601"/>
                <a:ext cx="507459" cy="117175"/>
              </a:xfrm>
              <a:custGeom>
                <a:avLst/>
                <a:gdLst>
                  <a:gd name="connsiteX0" fmla="*/ 1454583 w 1485182"/>
                  <a:gd name="connsiteY0" fmla="*/ 163331 h 342938"/>
                  <a:gd name="connsiteX1" fmla="*/ 821680 w 1485182"/>
                  <a:gd name="connsiteY1" fmla="*/ 184713 h 342938"/>
                  <a:gd name="connsiteX2" fmla="*/ 851615 w 1485182"/>
                  <a:gd name="connsiteY2" fmla="*/ 171884 h 342938"/>
                  <a:gd name="connsiteX3" fmla="*/ 868720 w 1485182"/>
                  <a:gd name="connsiteY3" fmla="*/ 124844 h 342938"/>
                  <a:gd name="connsiteX4" fmla="*/ 821680 w 1485182"/>
                  <a:gd name="connsiteY4" fmla="*/ 107738 h 342938"/>
                  <a:gd name="connsiteX5" fmla="*/ 659178 w 1485182"/>
                  <a:gd name="connsiteY5" fmla="*/ 176160 h 342938"/>
                  <a:gd name="connsiteX6" fmla="*/ 86144 w 1485182"/>
                  <a:gd name="connsiteY6" fmla="*/ 99185 h 342938"/>
                  <a:gd name="connsiteX7" fmla="*/ 205882 w 1485182"/>
                  <a:gd name="connsiteY7" fmla="*/ 64974 h 342938"/>
                  <a:gd name="connsiteX8" fmla="*/ 231541 w 1485182"/>
                  <a:gd name="connsiteY8" fmla="*/ 26487 h 342938"/>
                  <a:gd name="connsiteX9" fmla="*/ 193053 w 1485182"/>
                  <a:gd name="connsiteY9" fmla="*/ 829 h 342938"/>
                  <a:gd name="connsiteX10" fmla="*/ 617 w 1485182"/>
                  <a:gd name="connsiteY10" fmla="*/ 107738 h 342938"/>
                  <a:gd name="connsiteX11" fmla="*/ 518058 w 1485182"/>
                  <a:gd name="connsiteY11" fmla="*/ 240306 h 342938"/>
                  <a:gd name="connsiteX12" fmla="*/ 436807 w 1485182"/>
                  <a:gd name="connsiteY12" fmla="*/ 274517 h 342938"/>
                  <a:gd name="connsiteX13" fmla="*/ 419701 w 1485182"/>
                  <a:gd name="connsiteY13" fmla="*/ 321557 h 342938"/>
                  <a:gd name="connsiteX14" fmla="*/ 449636 w 1485182"/>
                  <a:gd name="connsiteY14" fmla="*/ 342939 h 342938"/>
                  <a:gd name="connsiteX15" fmla="*/ 462465 w 1485182"/>
                  <a:gd name="connsiteY15" fmla="*/ 338662 h 342938"/>
                  <a:gd name="connsiteX16" fmla="*/ 667731 w 1485182"/>
                  <a:gd name="connsiteY16" fmla="*/ 248858 h 342938"/>
                  <a:gd name="connsiteX17" fmla="*/ 992735 w 1485182"/>
                  <a:gd name="connsiteY17" fmla="*/ 257411 h 342938"/>
                  <a:gd name="connsiteX18" fmla="*/ 1454583 w 1485182"/>
                  <a:gd name="connsiteY18" fmla="*/ 236029 h 342938"/>
                  <a:gd name="connsiteX19" fmla="*/ 1484518 w 1485182"/>
                  <a:gd name="connsiteY19" fmla="*/ 197542 h 342938"/>
                  <a:gd name="connsiteX20" fmla="*/ 1454583 w 1485182"/>
                  <a:gd name="connsiteY20" fmla="*/ 163331 h 342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85182" h="342938">
                    <a:moveTo>
                      <a:pt x="1454583" y="163331"/>
                    </a:moveTo>
                    <a:cubicBezTo>
                      <a:pt x="1249317" y="184713"/>
                      <a:pt x="1026946" y="188989"/>
                      <a:pt x="821680" y="184713"/>
                    </a:cubicBezTo>
                    <a:lnTo>
                      <a:pt x="851615" y="171884"/>
                    </a:lnTo>
                    <a:cubicBezTo>
                      <a:pt x="868720" y="163331"/>
                      <a:pt x="877273" y="141949"/>
                      <a:pt x="868720" y="124844"/>
                    </a:cubicBezTo>
                    <a:cubicBezTo>
                      <a:pt x="860167" y="107738"/>
                      <a:pt x="838786" y="99185"/>
                      <a:pt x="821680" y="107738"/>
                    </a:cubicBezTo>
                    <a:lnTo>
                      <a:pt x="659178" y="176160"/>
                    </a:lnTo>
                    <a:cubicBezTo>
                      <a:pt x="381214" y="159055"/>
                      <a:pt x="154566" y="124844"/>
                      <a:pt x="86144" y="99185"/>
                    </a:cubicBezTo>
                    <a:cubicBezTo>
                      <a:pt x="103250" y="90633"/>
                      <a:pt x="141737" y="77803"/>
                      <a:pt x="205882" y="64974"/>
                    </a:cubicBezTo>
                    <a:cubicBezTo>
                      <a:pt x="222988" y="60698"/>
                      <a:pt x="235817" y="43593"/>
                      <a:pt x="231541" y="26487"/>
                    </a:cubicBezTo>
                    <a:cubicBezTo>
                      <a:pt x="227264" y="9381"/>
                      <a:pt x="210159" y="-3447"/>
                      <a:pt x="193053" y="829"/>
                    </a:cubicBezTo>
                    <a:cubicBezTo>
                      <a:pt x="73315" y="26487"/>
                      <a:pt x="-7936" y="52145"/>
                      <a:pt x="617" y="107738"/>
                    </a:cubicBezTo>
                    <a:cubicBezTo>
                      <a:pt x="4893" y="137673"/>
                      <a:pt x="13446" y="201818"/>
                      <a:pt x="518058" y="240306"/>
                    </a:cubicBezTo>
                    <a:lnTo>
                      <a:pt x="436807" y="274517"/>
                    </a:lnTo>
                    <a:cubicBezTo>
                      <a:pt x="419701" y="283069"/>
                      <a:pt x="411148" y="304451"/>
                      <a:pt x="419701" y="321557"/>
                    </a:cubicBezTo>
                    <a:cubicBezTo>
                      <a:pt x="423977" y="334386"/>
                      <a:pt x="436807" y="342939"/>
                      <a:pt x="449636" y="342939"/>
                    </a:cubicBezTo>
                    <a:cubicBezTo>
                      <a:pt x="453912" y="342939"/>
                      <a:pt x="458188" y="342939"/>
                      <a:pt x="462465" y="338662"/>
                    </a:cubicBezTo>
                    <a:lnTo>
                      <a:pt x="667731" y="248858"/>
                    </a:lnTo>
                    <a:cubicBezTo>
                      <a:pt x="774640" y="253135"/>
                      <a:pt x="885826" y="257411"/>
                      <a:pt x="992735" y="257411"/>
                    </a:cubicBezTo>
                    <a:cubicBezTo>
                      <a:pt x="1163790" y="257411"/>
                      <a:pt x="1322016" y="248858"/>
                      <a:pt x="1454583" y="236029"/>
                    </a:cubicBezTo>
                    <a:cubicBezTo>
                      <a:pt x="1471689" y="236029"/>
                      <a:pt x="1488794" y="218924"/>
                      <a:pt x="1484518" y="197542"/>
                    </a:cubicBezTo>
                    <a:cubicBezTo>
                      <a:pt x="1480241" y="176160"/>
                      <a:pt x="1471689" y="159055"/>
                      <a:pt x="1454583" y="163331"/>
                    </a:cubicBezTo>
                  </a:path>
                </a:pathLst>
              </a:custGeom>
              <a:solidFill>
                <a:srgbClr val="FFFFFF"/>
              </a:solidFill>
              <a:ln w="427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sz="3599">
                  <a:latin typeface="Arial" panose="020B0604020202020204" pitchFamily="34" charset="0"/>
                  <a:ea typeface="UD Digi Kyokasho N-B" panose="02020700000000000000" pitchFamily="17" charset="-128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62" name="図 261" descr="アイコン&#10;&#10;自動的に生成された説明">
            <a:extLst>
              <a:ext uri="{FF2B5EF4-FFF2-40B4-BE49-F238E27FC236}">
                <a16:creationId xmlns:a16="http://schemas.microsoft.com/office/drawing/2014/main" id="{83D8A599-3992-4A42-A72C-77EB63B2718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392" y="1730680"/>
            <a:ext cx="888531" cy="739162"/>
          </a:xfrm>
          <a:prstGeom prst="rect">
            <a:avLst/>
          </a:prstGeom>
        </p:spPr>
      </p:pic>
      <p:sp>
        <p:nvSpPr>
          <p:cNvPr id="263" name="テキスト ボックス 262">
            <a:extLst>
              <a:ext uri="{FF2B5EF4-FFF2-40B4-BE49-F238E27FC236}">
                <a16:creationId xmlns:a16="http://schemas.microsoft.com/office/drawing/2014/main" id="{A341A43D-7DED-44CF-A3B2-46D7A8FE707A}"/>
              </a:ext>
            </a:extLst>
          </p:cNvPr>
          <p:cNvSpPr txBox="1"/>
          <p:nvPr/>
        </p:nvSpPr>
        <p:spPr>
          <a:xfrm>
            <a:off x="10219755" y="1137255"/>
            <a:ext cx="17038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1" dirty="0">
                <a:solidFill>
                  <a:srgbClr val="3333FF"/>
                </a:solidFill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rPr>
              <a:t>Cloud Service</a:t>
            </a:r>
            <a:endParaRPr lang="ja-JP" altLang="en-US" sz="3599" dirty="0">
              <a:solidFill>
                <a:srgbClr val="333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4" name="グループ化 263">
            <a:extLst>
              <a:ext uri="{FF2B5EF4-FFF2-40B4-BE49-F238E27FC236}">
                <a16:creationId xmlns:a16="http://schemas.microsoft.com/office/drawing/2014/main" id="{1C2C2EA6-0B81-45ED-B2A7-8DBFE6B7CC32}"/>
              </a:ext>
            </a:extLst>
          </p:cNvPr>
          <p:cNvGrpSpPr/>
          <p:nvPr/>
        </p:nvGrpSpPr>
        <p:grpSpPr>
          <a:xfrm>
            <a:off x="8594964" y="2562699"/>
            <a:ext cx="2688132" cy="3117746"/>
            <a:chOff x="17186753" y="5125397"/>
            <a:chExt cx="5376263" cy="6235491"/>
          </a:xfrm>
        </p:grpSpPr>
        <p:sp>
          <p:nvSpPr>
            <p:cNvPr id="265" name="矢印: 左 264">
              <a:extLst>
                <a:ext uri="{FF2B5EF4-FFF2-40B4-BE49-F238E27FC236}">
                  <a16:creationId xmlns:a16="http://schemas.microsoft.com/office/drawing/2014/main" id="{328E64A7-2FC8-47A7-BD66-8356ADCEE93B}"/>
                </a:ext>
              </a:extLst>
            </p:cNvPr>
            <p:cNvSpPr/>
            <p:nvPr/>
          </p:nvSpPr>
          <p:spPr>
            <a:xfrm rot="5400000">
              <a:off x="19290185" y="7603597"/>
              <a:ext cx="5751032" cy="794631"/>
            </a:xfrm>
            <a:prstGeom prst="left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40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66" name="矢印: 左 265">
              <a:extLst>
                <a:ext uri="{FF2B5EF4-FFF2-40B4-BE49-F238E27FC236}">
                  <a16:creationId xmlns:a16="http://schemas.microsoft.com/office/drawing/2014/main" id="{C27D1B45-8551-4F5F-9522-0308B5D722D9}"/>
                </a:ext>
              </a:extLst>
            </p:cNvPr>
            <p:cNvSpPr/>
            <p:nvPr/>
          </p:nvSpPr>
          <p:spPr>
            <a:xfrm>
              <a:off x="17186753" y="10672353"/>
              <a:ext cx="5171553" cy="688535"/>
            </a:xfrm>
            <a:prstGeom prst="left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40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</p:grpSp>
      <p:sp>
        <p:nvSpPr>
          <p:cNvPr id="267" name="角丸四角形 91">
            <a:extLst>
              <a:ext uri="{FF2B5EF4-FFF2-40B4-BE49-F238E27FC236}">
                <a16:creationId xmlns:a16="http://schemas.microsoft.com/office/drawing/2014/main" id="{D75224F5-A661-44BA-92E5-E3BAB77BBE7C}"/>
              </a:ext>
            </a:extLst>
          </p:cNvPr>
          <p:cNvSpPr/>
          <p:nvPr/>
        </p:nvSpPr>
        <p:spPr>
          <a:xfrm>
            <a:off x="7143539" y="3722287"/>
            <a:ext cx="2990203" cy="2592770"/>
          </a:xfrm>
          <a:prstGeom prst="roundRect">
            <a:avLst>
              <a:gd name="adj" fmla="val 404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3989"/>
            <a:endParaRPr kumimoji="0" lang="ja-JP" altLang="en-US" dirty="0">
              <a:solidFill>
                <a:srgbClr val="FFFFFF"/>
              </a:solidFill>
              <a:latin typeface="Arial" panose="020B0604020202020204" pitchFamily="34" charset="0"/>
              <a:ea typeface="UD Digi Kyokasho N-B" panose="02020700000000000000" pitchFamily="17" charset="-128"/>
              <a:cs typeface="Arial" panose="020B0604020202020204" pitchFamily="34" charset="0"/>
            </a:endParaRPr>
          </a:p>
        </p:txBody>
      </p:sp>
      <p:grpSp>
        <p:nvGrpSpPr>
          <p:cNvPr id="268" name="グループ化 267">
            <a:extLst>
              <a:ext uri="{FF2B5EF4-FFF2-40B4-BE49-F238E27FC236}">
                <a16:creationId xmlns:a16="http://schemas.microsoft.com/office/drawing/2014/main" id="{9413673C-132B-428E-8D85-04142E1F74F8}"/>
              </a:ext>
            </a:extLst>
          </p:cNvPr>
          <p:cNvGrpSpPr/>
          <p:nvPr/>
        </p:nvGrpSpPr>
        <p:grpSpPr>
          <a:xfrm>
            <a:off x="7352330" y="3840632"/>
            <a:ext cx="2537641" cy="424917"/>
            <a:chOff x="600862" y="649357"/>
            <a:chExt cx="10981721" cy="1838840"/>
          </a:xfrm>
        </p:grpSpPr>
        <p:sp>
          <p:nvSpPr>
            <p:cNvPr id="269" name="フリーフォーム: 図形 268">
              <a:extLst>
                <a:ext uri="{FF2B5EF4-FFF2-40B4-BE49-F238E27FC236}">
                  <a16:creationId xmlns:a16="http://schemas.microsoft.com/office/drawing/2014/main" id="{9039AE3A-3F6D-4219-969D-97E028ABC9CA}"/>
                </a:ext>
              </a:extLst>
            </p:cNvPr>
            <p:cNvSpPr/>
            <p:nvPr/>
          </p:nvSpPr>
          <p:spPr>
            <a:xfrm>
              <a:off x="3008459" y="1119758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0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0"/>
                    <a:pt x="98357" y="188160"/>
                  </a:cubicBezTo>
                  <a:cubicBezTo>
                    <a:pt x="42764" y="188160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0" name="フリーフォーム: 図形 269">
              <a:extLst>
                <a:ext uri="{FF2B5EF4-FFF2-40B4-BE49-F238E27FC236}">
                  <a16:creationId xmlns:a16="http://schemas.microsoft.com/office/drawing/2014/main" id="{49AFA919-D347-448D-8C99-40FBDF692A25}"/>
                </a:ext>
              </a:extLst>
            </p:cNvPr>
            <p:cNvSpPr/>
            <p:nvPr/>
          </p:nvSpPr>
          <p:spPr>
            <a:xfrm>
              <a:off x="3299252" y="1547395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1" name="フリーフォーム: 図形 270">
              <a:extLst>
                <a:ext uri="{FF2B5EF4-FFF2-40B4-BE49-F238E27FC236}">
                  <a16:creationId xmlns:a16="http://schemas.microsoft.com/office/drawing/2014/main" id="{B95B1533-2470-4684-8774-87C8CD570B08}"/>
                </a:ext>
              </a:extLst>
            </p:cNvPr>
            <p:cNvSpPr/>
            <p:nvPr/>
          </p:nvSpPr>
          <p:spPr>
            <a:xfrm>
              <a:off x="3718337" y="1230943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8 h 739812"/>
                <a:gd name="connsiteX2" fmla="*/ 149673 w 624350"/>
                <a:gd name="connsiteY2" fmla="*/ 474678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8"/>
                  </a:lnTo>
                  <a:lnTo>
                    <a:pt x="149673" y="474678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2" name="フリーフォーム: 図形 271">
              <a:extLst>
                <a:ext uri="{FF2B5EF4-FFF2-40B4-BE49-F238E27FC236}">
                  <a16:creationId xmlns:a16="http://schemas.microsoft.com/office/drawing/2014/main" id="{5B57B537-AAFE-4E62-83A9-477267AE5028}"/>
                </a:ext>
              </a:extLst>
            </p:cNvPr>
            <p:cNvSpPr/>
            <p:nvPr/>
          </p:nvSpPr>
          <p:spPr>
            <a:xfrm>
              <a:off x="4364069" y="1401998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5201 h 581586"/>
                <a:gd name="connsiteX11" fmla="*/ 401979 w 551652"/>
                <a:gd name="connsiteY11" fmla="*/ 235201 h 581586"/>
                <a:gd name="connsiteX12" fmla="*/ 282241 w 551652"/>
                <a:gd name="connsiteY12" fmla="*/ 124015 h 581586"/>
                <a:gd name="connsiteX13" fmla="*/ 149673 w 551652"/>
                <a:gd name="connsiteY13" fmla="*/ 235201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0728"/>
                    <a:pt x="538823" y="342110"/>
                  </a:cubicBezTo>
                  <a:moveTo>
                    <a:pt x="149673" y="235201"/>
                  </a:moveTo>
                  <a:lnTo>
                    <a:pt x="401979" y="235201"/>
                  </a:lnTo>
                  <a:cubicBezTo>
                    <a:pt x="401979" y="166779"/>
                    <a:pt x="346386" y="124015"/>
                    <a:pt x="282241" y="124015"/>
                  </a:cubicBezTo>
                  <a:cubicBezTo>
                    <a:pt x="218095" y="124015"/>
                    <a:pt x="166779" y="162502"/>
                    <a:pt x="149673" y="235201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3" name="フリーフォーム: 図形 272">
              <a:extLst>
                <a:ext uri="{FF2B5EF4-FFF2-40B4-BE49-F238E27FC236}">
                  <a16:creationId xmlns:a16="http://schemas.microsoft.com/office/drawing/2014/main" id="{B4B65FC8-61EB-4FFD-B9A4-1EFD1A3304C4}"/>
                </a:ext>
              </a:extLst>
            </p:cNvPr>
            <p:cNvSpPr/>
            <p:nvPr/>
          </p:nvSpPr>
          <p:spPr>
            <a:xfrm>
              <a:off x="5022630" y="1401998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0793 h 769747"/>
                <a:gd name="connsiteX11" fmla="*/ 290793 w 585862"/>
                <a:gd name="connsiteY11" fmla="*/ 136844 h 769747"/>
                <a:gd name="connsiteX12" fmla="*/ 149673 w 585862"/>
                <a:gd name="connsiteY12" fmla="*/ 290793 h 769747"/>
                <a:gd name="connsiteX13" fmla="*/ 290793 w 585862"/>
                <a:gd name="connsiteY13" fmla="*/ 444743 h 769747"/>
                <a:gd name="connsiteX14" fmla="*/ 431914 w 585862"/>
                <a:gd name="connsiteY14" fmla="*/ 290793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5"/>
                    <a:pt x="239477" y="0"/>
                    <a:pt x="316452" y="0"/>
                  </a:cubicBezTo>
                  <a:cubicBezTo>
                    <a:pt x="470401" y="0"/>
                    <a:pt x="585863" y="124015"/>
                    <a:pt x="585863" y="290793"/>
                  </a:cubicBezTo>
                  <a:moveTo>
                    <a:pt x="431914" y="290793"/>
                  </a:moveTo>
                  <a:cubicBezTo>
                    <a:pt x="431914" y="196713"/>
                    <a:pt x="367768" y="136844"/>
                    <a:pt x="290793" y="136844"/>
                  </a:cubicBezTo>
                  <a:cubicBezTo>
                    <a:pt x="222371" y="136844"/>
                    <a:pt x="149673" y="183884"/>
                    <a:pt x="149673" y="290793"/>
                  </a:cubicBezTo>
                  <a:cubicBezTo>
                    <a:pt x="149673" y="397703"/>
                    <a:pt x="218095" y="444743"/>
                    <a:pt x="290793" y="444743"/>
                  </a:cubicBezTo>
                  <a:cubicBezTo>
                    <a:pt x="363492" y="440466"/>
                    <a:pt x="431914" y="384874"/>
                    <a:pt x="431914" y="29079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4" name="フリーフォーム: 図形 273">
              <a:extLst>
                <a:ext uri="{FF2B5EF4-FFF2-40B4-BE49-F238E27FC236}">
                  <a16:creationId xmlns:a16="http://schemas.microsoft.com/office/drawing/2014/main" id="{7AD4D48B-66D4-4BCC-B946-DD68F766B39E}"/>
                </a:ext>
              </a:extLst>
            </p:cNvPr>
            <p:cNvSpPr/>
            <p:nvPr/>
          </p:nvSpPr>
          <p:spPr>
            <a:xfrm>
              <a:off x="5681192" y="1406167"/>
              <a:ext cx="594415" cy="577417"/>
            </a:xfrm>
            <a:custGeom>
              <a:avLst/>
              <a:gdLst>
                <a:gd name="connsiteX0" fmla="*/ 594415 w 594415"/>
                <a:gd name="connsiteY0" fmla="*/ 286624 h 577417"/>
                <a:gd name="connsiteX1" fmla="*/ 295069 w 594415"/>
                <a:gd name="connsiteY1" fmla="*/ 577418 h 577417"/>
                <a:gd name="connsiteX2" fmla="*/ 0 w 594415"/>
                <a:gd name="connsiteY2" fmla="*/ 286624 h 577417"/>
                <a:gd name="connsiteX3" fmla="*/ 295069 w 594415"/>
                <a:gd name="connsiteY3" fmla="*/ 107 h 577417"/>
                <a:gd name="connsiteX4" fmla="*/ 594415 w 594415"/>
                <a:gd name="connsiteY4" fmla="*/ 286624 h 577417"/>
                <a:gd name="connsiteX5" fmla="*/ 153949 w 594415"/>
                <a:gd name="connsiteY5" fmla="*/ 286624 h 577417"/>
                <a:gd name="connsiteX6" fmla="*/ 295069 w 594415"/>
                <a:gd name="connsiteY6" fmla="*/ 436297 h 577417"/>
                <a:gd name="connsiteX7" fmla="*/ 436190 w 594415"/>
                <a:gd name="connsiteY7" fmla="*/ 286624 h 577417"/>
                <a:gd name="connsiteX8" fmla="*/ 295069 w 594415"/>
                <a:gd name="connsiteY8" fmla="*/ 132675 h 577417"/>
                <a:gd name="connsiteX9" fmla="*/ 153949 w 594415"/>
                <a:gd name="connsiteY9" fmla="*/ 286624 h 577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417">
                  <a:moveTo>
                    <a:pt x="594415" y="286624"/>
                  </a:moveTo>
                  <a:cubicBezTo>
                    <a:pt x="594415" y="449127"/>
                    <a:pt x="461848" y="577418"/>
                    <a:pt x="295069" y="577418"/>
                  </a:cubicBezTo>
                  <a:cubicBezTo>
                    <a:pt x="128291" y="577418"/>
                    <a:pt x="0" y="453403"/>
                    <a:pt x="0" y="286624"/>
                  </a:cubicBezTo>
                  <a:cubicBezTo>
                    <a:pt x="0" y="124122"/>
                    <a:pt x="132567" y="107"/>
                    <a:pt x="295069" y="107"/>
                  </a:cubicBezTo>
                  <a:cubicBezTo>
                    <a:pt x="457572" y="-4169"/>
                    <a:pt x="594415" y="119846"/>
                    <a:pt x="594415" y="286624"/>
                  </a:cubicBezTo>
                  <a:moveTo>
                    <a:pt x="153949" y="286624"/>
                  </a:moveTo>
                  <a:cubicBezTo>
                    <a:pt x="153949" y="372152"/>
                    <a:pt x="213819" y="436297"/>
                    <a:pt x="295069" y="436297"/>
                  </a:cubicBezTo>
                  <a:cubicBezTo>
                    <a:pt x="376321" y="436297"/>
                    <a:pt x="436190" y="372152"/>
                    <a:pt x="436190" y="286624"/>
                  </a:cubicBezTo>
                  <a:cubicBezTo>
                    <a:pt x="436190" y="201097"/>
                    <a:pt x="376321" y="132675"/>
                    <a:pt x="295069" y="132675"/>
                  </a:cubicBezTo>
                  <a:cubicBezTo>
                    <a:pt x="213819" y="132675"/>
                    <a:pt x="153949" y="196820"/>
                    <a:pt x="153949" y="28662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5" name="フリーフォーム: 図形 274">
              <a:extLst>
                <a:ext uri="{FF2B5EF4-FFF2-40B4-BE49-F238E27FC236}">
                  <a16:creationId xmlns:a16="http://schemas.microsoft.com/office/drawing/2014/main" id="{DE0323F4-9C60-4E10-88E6-940C1A927A7B}"/>
                </a:ext>
              </a:extLst>
            </p:cNvPr>
            <p:cNvSpPr/>
            <p:nvPr/>
          </p:nvSpPr>
          <p:spPr>
            <a:xfrm>
              <a:off x="6669033" y="1213838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9281 h 752641"/>
                <a:gd name="connsiteX3" fmla="*/ 431914 w 496059"/>
                <a:gd name="connsiteY3" fmla="*/ 329281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9281"/>
                  </a:lnTo>
                  <a:lnTo>
                    <a:pt x="431914" y="329281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6" name="フリーフォーム: 図形 275">
              <a:extLst>
                <a:ext uri="{FF2B5EF4-FFF2-40B4-BE49-F238E27FC236}">
                  <a16:creationId xmlns:a16="http://schemas.microsoft.com/office/drawing/2014/main" id="{91C56A7D-4E52-4432-AEC6-5B3F00C5C858}"/>
                </a:ext>
              </a:extLst>
            </p:cNvPr>
            <p:cNvSpPr/>
            <p:nvPr/>
          </p:nvSpPr>
          <p:spPr>
            <a:xfrm>
              <a:off x="7220685" y="1393446"/>
              <a:ext cx="346385" cy="573034"/>
            </a:xfrm>
            <a:custGeom>
              <a:avLst/>
              <a:gdLst>
                <a:gd name="connsiteX0" fmla="*/ 346386 w 346385"/>
                <a:gd name="connsiteY0" fmla="*/ 8553 h 573034"/>
                <a:gd name="connsiteX1" fmla="*/ 346386 w 346385"/>
                <a:gd name="connsiteY1" fmla="*/ 145397 h 573034"/>
                <a:gd name="connsiteX2" fmla="*/ 303622 w 346385"/>
                <a:gd name="connsiteY2" fmla="*/ 145397 h 573034"/>
                <a:gd name="connsiteX3" fmla="*/ 153949 w 346385"/>
                <a:gd name="connsiteY3" fmla="*/ 290793 h 573034"/>
                <a:gd name="connsiteX4" fmla="*/ 153949 w 346385"/>
                <a:gd name="connsiteY4" fmla="*/ 573034 h 573034"/>
                <a:gd name="connsiteX5" fmla="*/ 0 w 346385"/>
                <a:gd name="connsiteY5" fmla="*/ 573034 h 573034"/>
                <a:gd name="connsiteX6" fmla="*/ 0 w 346385"/>
                <a:gd name="connsiteY6" fmla="*/ 8553 h 573034"/>
                <a:gd name="connsiteX7" fmla="*/ 141120 w 346385"/>
                <a:gd name="connsiteY7" fmla="*/ 8553 h 573034"/>
                <a:gd name="connsiteX8" fmla="*/ 141120 w 346385"/>
                <a:gd name="connsiteY8" fmla="*/ 76975 h 573034"/>
                <a:gd name="connsiteX9" fmla="*/ 295069 w 346385"/>
                <a:gd name="connsiteY9" fmla="*/ 0 h 573034"/>
                <a:gd name="connsiteX10" fmla="*/ 346386 w 346385"/>
                <a:gd name="connsiteY10" fmla="*/ 8553 h 57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4">
                  <a:moveTo>
                    <a:pt x="346386" y="8553"/>
                  </a:moveTo>
                  <a:lnTo>
                    <a:pt x="346386" y="145397"/>
                  </a:lnTo>
                  <a:lnTo>
                    <a:pt x="303622" y="145397"/>
                  </a:lnTo>
                  <a:cubicBezTo>
                    <a:pt x="213819" y="145397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5"/>
                    <a:pt x="235200" y="0"/>
                    <a:pt x="295069" y="0"/>
                  </a:cubicBezTo>
                  <a:cubicBezTo>
                    <a:pt x="316451" y="4276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7" name="フリーフォーム: 図形 276">
              <a:extLst>
                <a:ext uri="{FF2B5EF4-FFF2-40B4-BE49-F238E27FC236}">
                  <a16:creationId xmlns:a16="http://schemas.microsoft.com/office/drawing/2014/main" id="{5CBE2B31-B530-432A-ADDC-8FB9AE7066D3}"/>
                </a:ext>
              </a:extLst>
            </p:cNvPr>
            <p:cNvSpPr/>
            <p:nvPr/>
          </p:nvSpPr>
          <p:spPr>
            <a:xfrm>
              <a:off x="7609835" y="1389169"/>
              <a:ext cx="561370" cy="590139"/>
            </a:xfrm>
            <a:custGeom>
              <a:avLst/>
              <a:gdLst>
                <a:gd name="connsiteX0" fmla="*/ 551652 w 561370"/>
                <a:gd name="connsiteY0" fmla="*/ 346386 h 590139"/>
                <a:gd name="connsiteX1" fmla="*/ 153950 w 561370"/>
                <a:gd name="connsiteY1" fmla="*/ 346386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6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6"/>
                  </a:moveTo>
                  <a:lnTo>
                    <a:pt x="153950" y="346386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8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9281"/>
                    <a:pt x="551652" y="346386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8" name="フリーフォーム: 図形 277">
              <a:extLst>
                <a:ext uri="{FF2B5EF4-FFF2-40B4-BE49-F238E27FC236}">
                  <a16:creationId xmlns:a16="http://schemas.microsoft.com/office/drawing/2014/main" id="{56371CE3-AC17-432F-B18B-52BC52848EB8}"/>
                </a:ext>
              </a:extLst>
            </p:cNvPr>
            <p:cNvSpPr/>
            <p:nvPr/>
          </p:nvSpPr>
          <p:spPr>
            <a:xfrm>
              <a:off x="8247015" y="1389169"/>
              <a:ext cx="560204" cy="590139"/>
            </a:xfrm>
            <a:custGeom>
              <a:avLst/>
              <a:gdLst>
                <a:gd name="connsiteX0" fmla="*/ 551652 w 560204"/>
                <a:gd name="connsiteY0" fmla="*/ 346386 h 590139"/>
                <a:gd name="connsiteX1" fmla="*/ 153949 w 560204"/>
                <a:gd name="connsiteY1" fmla="*/ 346386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6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6"/>
                  </a:moveTo>
                  <a:lnTo>
                    <a:pt x="153949" y="346386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8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9281"/>
                    <a:pt x="551652" y="346386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79" name="フリーフォーム: 図形 278">
              <a:extLst>
                <a:ext uri="{FF2B5EF4-FFF2-40B4-BE49-F238E27FC236}">
                  <a16:creationId xmlns:a16="http://schemas.microsoft.com/office/drawing/2014/main" id="{789C996F-7137-476A-B87F-E8CF7FF50167}"/>
                </a:ext>
              </a:extLst>
            </p:cNvPr>
            <p:cNvSpPr/>
            <p:nvPr/>
          </p:nvSpPr>
          <p:spPr>
            <a:xfrm>
              <a:off x="8926958" y="1213838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0" name="フリーフォーム: 図形 279">
              <a:extLst>
                <a:ext uri="{FF2B5EF4-FFF2-40B4-BE49-F238E27FC236}">
                  <a16:creationId xmlns:a16="http://schemas.microsoft.com/office/drawing/2014/main" id="{259BDE96-18C6-41B4-9892-0524C90DF72D}"/>
                </a:ext>
              </a:extLst>
            </p:cNvPr>
            <p:cNvSpPr/>
            <p:nvPr/>
          </p:nvSpPr>
          <p:spPr>
            <a:xfrm>
              <a:off x="9696705" y="1393446"/>
              <a:ext cx="346386" cy="573034"/>
            </a:xfrm>
            <a:custGeom>
              <a:avLst/>
              <a:gdLst>
                <a:gd name="connsiteX0" fmla="*/ 346386 w 346386"/>
                <a:gd name="connsiteY0" fmla="*/ 8553 h 573034"/>
                <a:gd name="connsiteX1" fmla="*/ 346386 w 346386"/>
                <a:gd name="connsiteY1" fmla="*/ 145397 h 573034"/>
                <a:gd name="connsiteX2" fmla="*/ 303623 w 346386"/>
                <a:gd name="connsiteY2" fmla="*/ 145397 h 573034"/>
                <a:gd name="connsiteX3" fmla="*/ 153950 w 346386"/>
                <a:gd name="connsiteY3" fmla="*/ 290793 h 573034"/>
                <a:gd name="connsiteX4" fmla="*/ 153950 w 346386"/>
                <a:gd name="connsiteY4" fmla="*/ 573034 h 573034"/>
                <a:gd name="connsiteX5" fmla="*/ 0 w 346386"/>
                <a:gd name="connsiteY5" fmla="*/ 573034 h 573034"/>
                <a:gd name="connsiteX6" fmla="*/ 0 w 346386"/>
                <a:gd name="connsiteY6" fmla="*/ 8553 h 573034"/>
                <a:gd name="connsiteX7" fmla="*/ 141120 w 346386"/>
                <a:gd name="connsiteY7" fmla="*/ 8553 h 573034"/>
                <a:gd name="connsiteX8" fmla="*/ 141120 w 346386"/>
                <a:gd name="connsiteY8" fmla="*/ 76975 h 573034"/>
                <a:gd name="connsiteX9" fmla="*/ 295070 w 346386"/>
                <a:gd name="connsiteY9" fmla="*/ 0 h 573034"/>
                <a:gd name="connsiteX10" fmla="*/ 346386 w 346386"/>
                <a:gd name="connsiteY10" fmla="*/ 8553 h 57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4">
                  <a:moveTo>
                    <a:pt x="346386" y="8553"/>
                  </a:moveTo>
                  <a:lnTo>
                    <a:pt x="346386" y="145397"/>
                  </a:lnTo>
                  <a:lnTo>
                    <a:pt x="303623" y="145397"/>
                  </a:lnTo>
                  <a:cubicBezTo>
                    <a:pt x="213819" y="145397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5"/>
                    <a:pt x="235200" y="0"/>
                    <a:pt x="295070" y="0"/>
                  </a:cubicBezTo>
                  <a:cubicBezTo>
                    <a:pt x="316452" y="4276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1" name="フリーフォーム: 図形 280">
              <a:extLst>
                <a:ext uri="{FF2B5EF4-FFF2-40B4-BE49-F238E27FC236}">
                  <a16:creationId xmlns:a16="http://schemas.microsoft.com/office/drawing/2014/main" id="{37AD0FDC-52B9-44BD-B26A-5128E4D54446}"/>
                </a:ext>
              </a:extLst>
            </p:cNvPr>
            <p:cNvSpPr/>
            <p:nvPr/>
          </p:nvSpPr>
          <p:spPr>
            <a:xfrm>
              <a:off x="10094407" y="1393285"/>
              <a:ext cx="504612" cy="586023"/>
            </a:xfrm>
            <a:custGeom>
              <a:avLst/>
              <a:gdLst>
                <a:gd name="connsiteX0" fmla="*/ 504612 w 504612"/>
                <a:gd name="connsiteY0" fmla="*/ 239637 h 586023"/>
                <a:gd name="connsiteX1" fmla="*/ 504612 w 504612"/>
                <a:gd name="connsiteY1" fmla="*/ 573195 h 586023"/>
                <a:gd name="connsiteX2" fmla="*/ 363492 w 504612"/>
                <a:gd name="connsiteY2" fmla="*/ 573195 h 586023"/>
                <a:gd name="connsiteX3" fmla="*/ 363492 w 504612"/>
                <a:gd name="connsiteY3" fmla="*/ 517602 h 586023"/>
                <a:gd name="connsiteX4" fmla="*/ 192437 w 504612"/>
                <a:gd name="connsiteY4" fmla="*/ 586024 h 586023"/>
                <a:gd name="connsiteX5" fmla="*/ 0 w 504612"/>
                <a:gd name="connsiteY5" fmla="*/ 419245 h 586023"/>
                <a:gd name="connsiteX6" fmla="*/ 213819 w 504612"/>
                <a:gd name="connsiteY6" fmla="*/ 256743 h 586023"/>
                <a:gd name="connsiteX7" fmla="*/ 354939 w 504612"/>
                <a:gd name="connsiteY7" fmla="*/ 256743 h 586023"/>
                <a:gd name="connsiteX8" fmla="*/ 354939 w 504612"/>
                <a:gd name="connsiteY8" fmla="*/ 231085 h 586023"/>
                <a:gd name="connsiteX9" fmla="*/ 252306 w 504612"/>
                <a:gd name="connsiteY9" fmla="*/ 132728 h 586023"/>
                <a:gd name="connsiteX10" fmla="*/ 102633 w 504612"/>
                <a:gd name="connsiteY10" fmla="*/ 209703 h 586023"/>
                <a:gd name="connsiteX11" fmla="*/ 21382 w 504612"/>
                <a:gd name="connsiteY11" fmla="*/ 115623 h 586023"/>
                <a:gd name="connsiteX12" fmla="*/ 265135 w 504612"/>
                <a:gd name="connsiteY12" fmla="*/ 160 h 586023"/>
                <a:gd name="connsiteX13" fmla="*/ 504612 w 504612"/>
                <a:gd name="connsiteY13" fmla="*/ 239637 h 586023"/>
                <a:gd name="connsiteX14" fmla="*/ 350662 w 504612"/>
                <a:gd name="connsiteY14" fmla="*/ 363652 h 586023"/>
                <a:gd name="connsiteX15" fmla="*/ 350662 w 504612"/>
                <a:gd name="connsiteY15" fmla="*/ 355100 h 586023"/>
                <a:gd name="connsiteX16" fmla="*/ 230924 w 504612"/>
                <a:gd name="connsiteY16" fmla="*/ 355100 h 586023"/>
                <a:gd name="connsiteX17" fmla="*/ 153950 w 504612"/>
                <a:gd name="connsiteY17" fmla="*/ 410692 h 586023"/>
                <a:gd name="connsiteX18" fmla="*/ 235200 w 504612"/>
                <a:gd name="connsiteY18" fmla="*/ 470562 h 586023"/>
                <a:gd name="connsiteX19" fmla="*/ 350662 w 504612"/>
                <a:gd name="connsiteY19" fmla="*/ 363652 h 586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6023">
                  <a:moveTo>
                    <a:pt x="504612" y="239637"/>
                  </a:moveTo>
                  <a:lnTo>
                    <a:pt x="504612" y="573195"/>
                  </a:lnTo>
                  <a:lnTo>
                    <a:pt x="363492" y="573195"/>
                  </a:lnTo>
                  <a:lnTo>
                    <a:pt x="363492" y="517602"/>
                  </a:lnTo>
                  <a:cubicBezTo>
                    <a:pt x="325005" y="560365"/>
                    <a:pt x="265135" y="586024"/>
                    <a:pt x="192437" y="586024"/>
                  </a:cubicBezTo>
                  <a:cubicBezTo>
                    <a:pt x="68422" y="586024"/>
                    <a:pt x="0" y="513325"/>
                    <a:pt x="0" y="419245"/>
                  </a:cubicBezTo>
                  <a:cubicBezTo>
                    <a:pt x="0" y="316612"/>
                    <a:pt x="81251" y="256743"/>
                    <a:pt x="213819" y="256743"/>
                  </a:cubicBezTo>
                  <a:lnTo>
                    <a:pt x="354939" y="256743"/>
                  </a:lnTo>
                  <a:lnTo>
                    <a:pt x="354939" y="231085"/>
                  </a:lnTo>
                  <a:cubicBezTo>
                    <a:pt x="354939" y="171215"/>
                    <a:pt x="320728" y="132728"/>
                    <a:pt x="252306" y="132728"/>
                  </a:cubicBezTo>
                  <a:cubicBezTo>
                    <a:pt x="192437" y="132728"/>
                    <a:pt x="149673" y="162663"/>
                    <a:pt x="102633" y="209703"/>
                  </a:cubicBezTo>
                  <a:lnTo>
                    <a:pt x="21382" y="115623"/>
                  </a:lnTo>
                  <a:cubicBezTo>
                    <a:pt x="85527" y="38648"/>
                    <a:pt x="166778" y="160"/>
                    <a:pt x="265135" y="160"/>
                  </a:cubicBezTo>
                  <a:cubicBezTo>
                    <a:pt x="406255" y="-4116"/>
                    <a:pt x="504612" y="77135"/>
                    <a:pt x="504612" y="239637"/>
                  </a:cubicBezTo>
                  <a:moveTo>
                    <a:pt x="350662" y="363652"/>
                  </a:moveTo>
                  <a:lnTo>
                    <a:pt x="350662" y="355100"/>
                  </a:lnTo>
                  <a:lnTo>
                    <a:pt x="230924" y="355100"/>
                  </a:lnTo>
                  <a:cubicBezTo>
                    <a:pt x="179608" y="355100"/>
                    <a:pt x="153950" y="376481"/>
                    <a:pt x="153950" y="410692"/>
                  </a:cubicBezTo>
                  <a:cubicBezTo>
                    <a:pt x="153950" y="449180"/>
                    <a:pt x="188160" y="470562"/>
                    <a:pt x="235200" y="470562"/>
                  </a:cubicBezTo>
                  <a:cubicBezTo>
                    <a:pt x="295069" y="474838"/>
                    <a:pt x="350662" y="427798"/>
                    <a:pt x="350662" y="36365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2" name="フリーフォーム: 図形 281">
              <a:extLst>
                <a:ext uri="{FF2B5EF4-FFF2-40B4-BE49-F238E27FC236}">
                  <a16:creationId xmlns:a16="http://schemas.microsoft.com/office/drawing/2014/main" id="{DDA2D1D6-77BB-4193-AEC8-483CB7D857A8}"/>
                </a:ext>
              </a:extLst>
            </p:cNvPr>
            <p:cNvSpPr/>
            <p:nvPr/>
          </p:nvSpPr>
          <p:spPr>
            <a:xfrm>
              <a:off x="10637506" y="1389169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9281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9281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3" name="フリーフォーム: 図形 282">
              <a:extLst>
                <a:ext uri="{FF2B5EF4-FFF2-40B4-BE49-F238E27FC236}">
                  <a16:creationId xmlns:a16="http://schemas.microsoft.com/office/drawing/2014/main" id="{E9EF2AC3-A7EF-4809-9672-2FE51B8F7A12}"/>
                </a:ext>
              </a:extLst>
            </p:cNvPr>
            <p:cNvSpPr/>
            <p:nvPr/>
          </p:nvSpPr>
          <p:spPr>
            <a:xfrm>
              <a:off x="600862" y="649357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4" name="フリーフォーム: 図形 283">
              <a:extLst>
                <a:ext uri="{FF2B5EF4-FFF2-40B4-BE49-F238E27FC236}">
                  <a16:creationId xmlns:a16="http://schemas.microsoft.com/office/drawing/2014/main" id="{7C284622-2A8B-4FC4-9EED-06E20A7C56CF}"/>
                </a:ext>
              </a:extLst>
            </p:cNvPr>
            <p:cNvSpPr/>
            <p:nvPr/>
          </p:nvSpPr>
          <p:spPr>
            <a:xfrm rot="18182023">
              <a:off x="1618409" y="808942"/>
              <a:ext cx="85522" cy="115455"/>
            </a:xfrm>
            <a:custGeom>
              <a:avLst/>
              <a:gdLst>
                <a:gd name="connsiteX0" fmla="*/ 0 w 85522"/>
                <a:gd name="connsiteY0" fmla="*/ 0 h 115455"/>
                <a:gd name="connsiteX1" fmla="*/ 85522 w 85522"/>
                <a:gd name="connsiteY1" fmla="*/ 0 h 115455"/>
                <a:gd name="connsiteX2" fmla="*/ 85522 w 85522"/>
                <a:gd name="connsiteY2" fmla="*/ 115455 h 115455"/>
                <a:gd name="connsiteX3" fmla="*/ 0 w 85522"/>
                <a:gd name="connsiteY3" fmla="*/ 115455 h 115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522" h="115455">
                  <a:moveTo>
                    <a:pt x="0" y="0"/>
                  </a:moveTo>
                  <a:lnTo>
                    <a:pt x="85522" y="0"/>
                  </a:lnTo>
                  <a:lnTo>
                    <a:pt x="85522" y="115455"/>
                  </a:lnTo>
                  <a:lnTo>
                    <a:pt x="0" y="115455"/>
                  </a:lnTo>
                  <a:close/>
                </a:path>
              </a:pathLst>
            </a:custGeom>
            <a:solidFill>
              <a:srgbClr val="154186"/>
            </a:solidFill>
            <a:ln w="42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5" name="フリーフォーム: 図形 284">
              <a:extLst>
                <a:ext uri="{FF2B5EF4-FFF2-40B4-BE49-F238E27FC236}">
                  <a16:creationId xmlns:a16="http://schemas.microsoft.com/office/drawing/2014/main" id="{A2A30926-AC7D-4CF2-B756-5588E5B2DBAD}"/>
                </a:ext>
              </a:extLst>
            </p:cNvPr>
            <p:cNvSpPr/>
            <p:nvPr/>
          </p:nvSpPr>
          <p:spPr>
            <a:xfrm>
              <a:off x="977991" y="1089823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4"/>
                    <a:pt x="3467" y="359215"/>
                  </a:cubicBezTo>
                  <a:cubicBezTo>
                    <a:pt x="7744" y="372045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6" name="フリーフォーム: 図形 285">
              <a:extLst>
                <a:ext uri="{FF2B5EF4-FFF2-40B4-BE49-F238E27FC236}">
                  <a16:creationId xmlns:a16="http://schemas.microsoft.com/office/drawing/2014/main" id="{B72D5E01-1F13-4AB3-8D8A-B010875D34C2}"/>
                </a:ext>
              </a:extLst>
            </p:cNvPr>
            <p:cNvSpPr/>
            <p:nvPr/>
          </p:nvSpPr>
          <p:spPr>
            <a:xfrm>
              <a:off x="1088368" y="1487526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7" name="フリーフォーム: 図形 286">
              <a:extLst>
                <a:ext uri="{FF2B5EF4-FFF2-40B4-BE49-F238E27FC236}">
                  <a16:creationId xmlns:a16="http://schemas.microsoft.com/office/drawing/2014/main" id="{9DA88FAE-77E9-4BF1-B7F9-51B4030E650A}"/>
                </a:ext>
              </a:extLst>
            </p:cNvPr>
            <p:cNvSpPr/>
            <p:nvPr/>
          </p:nvSpPr>
          <p:spPr>
            <a:xfrm>
              <a:off x="1287457" y="1624370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1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8" name="フリーフォーム: 図形 287">
              <a:extLst>
                <a:ext uri="{FF2B5EF4-FFF2-40B4-BE49-F238E27FC236}">
                  <a16:creationId xmlns:a16="http://schemas.microsoft.com/office/drawing/2014/main" id="{B50DA9EF-8105-4015-BA1F-EC0BE3E279EF}"/>
                </a:ext>
              </a:extLst>
            </p:cNvPr>
            <p:cNvSpPr/>
            <p:nvPr/>
          </p:nvSpPr>
          <p:spPr>
            <a:xfrm>
              <a:off x="1445683" y="1654304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0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0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2764"/>
                    <a:pt x="10453" y="85527"/>
                    <a:pt x="1900" y="124015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89" name="フリーフォーム: 図形 288">
              <a:extLst>
                <a:ext uri="{FF2B5EF4-FFF2-40B4-BE49-F238E27FC236}">
                  <a16:creationId xmlns:a16="http://schemas.microsoft.com/office/drawing/2014/main" id="{3F3E4FE1-25FC-4C41-AC24-DDD01D733BCA}"/>
                </a:ext>
              </a:extLst>
            </p:cNvPr>
            <p:cNvSpPr/>
            <p:nvPr/>
          </p:nvSpPr>
          <p:spPr>
            <a:xfrm>
              <a:off x="1241662" y="1089823"/>
              <a:ext cx="975667" cy="651780"/>
            </a:xfrm>
            <a:custGeom>
              <a:avLst/>
              <a:gdLst>
                <a:gd name="connsiteX0" fmla="*/ 958562 w 975667"/>
                <a:gd name="connsiteY0" fmla="*/ 320728 h 651780"/>
                <a:gd name="connsiteX1" fmla="*/ 885864 w 975667"/>
                <a:gd name="connsiteY1" fmla="*/ 299346 h 651780"/>
                <a:gd name="connsiteX2" fmla="*/ 757573 w 975667"/>
                <a:gd name="connsiteY2" fmla="*/ 230924 h 651780"/>
                <a:gd name="connsiteX3" fmla="*/ 629282 w 975667"/>
                <a:gd name="connsiteY3" fmla="*/ 132568 h 651780"/>
                <a:gd name="connsiteX4" fmla="*/ 496714 w 975667"/>
                <a:gd name="connsiteY4" fmla="*/ 38487 h 651780"/>
                <a:gd name="connsiteX5" fmla="*/ 483885 w 975667"/>
                <a:gd name="connsiteY5" fmla="*/ 34211 h 651780"/>
                <a:gd name="connsiteX6" fmla="*/ 402634 w 975667"/>
                <a:gd name="connsiteY6" fmla="*/ 0 h 651780"/>
                <a:gd name="connsiteX7" fmla="*/ 389805 w 975667"/>
                <a:gd name="connsiteY7" fmla="*/ 17105 h 651780"/>
                <a:gd name="connsiteX8" fmla="*/ 389805 w 975667"/>
                <a:gd name="connsiteY8" fmla="*/ 17105 h 651780"/>
                <a:gd name="connsiteX9" fmla="*/ 265790 w 975667"/>
                <a:gd name="connsiteY9" fmla="*/ 200990 h 651780"/>
                <a:gd name="connsiteX10" fmla="*/ 201644 w 975667"/>
                <a:gd name="connsiteY10" fmla="*/ 299346 h 651780"/>
                <a:gd name="connsiteX11" fmla="*/ 201644 w 975667"/>
                <a:gd name="connsiteY11" fmla="*/ 299346 h 651780"/>
                <a:gd name="connsiteX12" fmla="*/ 201644 w 975667"/>
                <a:gd name="connsiteY12" fmla="*/ 299346 h 651780"/>
                <a:gd name="connsiteX13" fmla="*/ 248684 w 975667"/>
                <a:gd name="connsiteY13" fmla="*/ 303623 h 651780"/>
                <a:gd name="connsiteX14" fmla="*/ 287172 w 975667"/>
                <a:gd name="connsiteY14" fmla="*/ 307899 h 651780"/>
                <a:gd name="connsiteX15" fmla="*/ 347041 w 975667"/>
                <a:gd name="connsiteY15" fmla="*/ 312175 h 651780"/>
                <a:gd name="connsiteX16" fmla="*/ 505267 w 975667"/>
                <a:gd name="connsiteY16" fmla="*/ 243753 h 651780"/>
                <a:gd name="connsiteX17" fmla="*/ 535201 w 975667"/>
                <a:gd name="connsiteY17" fmla="*/ 248030 h 651780"/>
                <a:gd name="connsiteX18" fmla="*/ 530925 w 975667"/>
                <a:gd name="connsiteY18" fmla="*/ 282241 h 651780"/>
                <a:gd name="connsiteX19" fmla="*/ 347041 w 975667"/>
                <a:gd name="connsiteY19" fmla="*/ 363492 h 651780"/>
                <a:gd name="connsiteX20" fmla="*/ 342765 w 975667"/>
                <a:gd name="connsiteY20" fmla="*/ 363492 h 651780"/>
                <a:gd name="connsiteX21" fmla="*/ 214474 w 975667"/>
                <a:gd name="connsiteY21" fmla="*/ 350663 h 651780"/>
                <a:gd name="connsiteX22" fmla="*/ 163157 w 975667"/>
                <a:gd name="connsiteY22" fmla="*/ 342110 h 651780"/>
                <a:gd name="connsiteX23" fmla="*/ 124670 w 975667"/>
                <a:gd name="connsiteY23" fmla="*/ 333557 h 651780"/>
                <a:gd name="connsiteX24" fmla="*/ 81906 w 975667"/>
                <a:gd name="connsiteY24" fmla="*/ 325004 h 651780"/>
                <a:gd name="connsiteX25" fmla="*/ 655 w 975667"/>
                <a:gd name="connsiteY25" fmla="*/ 384874 h 651780"/>
                <a:gd name="connsiteX26" fmla="*/ 39142 w 975667"/>
                <a:gd name="connsiteY26" fmla="*/ 466125 h 651780"/>
                <a:gd name="connsiteX27" fmla="*/ 107564 w 975667"/>
                <a:gd name="connsiteY27" fmla="*/ 487507 h 651780"/>
                <a:gd name="connsiteX28" fmla="*/ 218750 w 975667"/>
                <a:gd name="connsiteY28" fmla="*/ 508889 h 651780"/>
                <a:gd name="connsiteX29" fmla="*/ 364147 w 975667"/>
                <a:gd name="connsiteY29" fmla="*/ 521718 h 651780"/>
                <a:gd name="connsiteX30" fmla="*/ 376976 w 975667"/>
                <a:gd name="connsiteY30" fmla="*/ 530270 h 651780"/>
                <a:gd name="connsiteX31" fmla="*/ 548031 w 975667"/>
                <a:gd name="connsiteY31" fmla="*/ 650009 h 651780"/>
                <a:gd name="connsiteX32" fmla="*/ 642111 w 975667"/>
                <a:gd name="connsiteY32" fmla="*/ 645732 h 651780"/>
                <a:gd name="connsiteX33" fmla="*/ 727638 w 975667"/>
                <a:gd name="connsiteY33" fmla="*/ 615798 h 651780"/>
                <a:gd name="connsiteX34" fmla="*/ 783231 w 975667"/>
                <a:gd name="connsiteY34" fmla="*/ 607245 h 651780"/>
                <a:gd name="connsiteX35" fmla="*/ 915799 w 975667"/>
                <a:gd name="connsiteY35" fmla="*/ 641456 h 651780"/>
                <a:gd name="connsiteX36" fmla="*/ 941457 w 975667"/>
                <a:gd name="connsiteY36" fmla="*/ 457572 h 651780"/>
                <a:gd name="connsiteX37" fmla="*/ 975668 w 975667"/>
                <a:gd name="connsiteY37" fmla="*/ 329281 h 651780"/>
                <a:gd name="connsiteX38" fmla="*/ 958562 w 975667"/>
                <a:gd name="connsiteY38" fmla="*/ 320728 h 65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51780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90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0990"/>
                  </a:lnTo>
                  <a:lnTo>
                    <a:pt x="201644" y="299346"/>
                  </a:lnTo>
                  <a:lnTo>
                    <a:pt x="201644" y="299346"/>
                  </a:lnTo>
                  <a:lnTo>
                    <a:pt x="201644" y="299346"/>
                  </a:lnTo>
                  <a:cubicBezTo>
                    <a:pt x="218750" y="299346"/>
                    <a:pt x="231579" y="303623"/>
                    <a:pt x="248684" y="303623"/>
                  </a:cubicBezTo>
                  <a:cubicBezTo>
                    <a:pt x="261514" y="303623"/>
                    <a:pt x="274343" y="307899"/>
                    <a:pt x="287172" y="307899"/>
                  </a:cubicBezTo>
                  <a:cubicBezTo>
                    <a:pt x="308554" y="307899"/>
                    <a:pt x="325659" y="312175"/>
                    <a:pt x="347041" y="312175"/>
                  </a:cubicBezTo>
                  <a:cubicBezTo>
                    <a:pt x="402634" y="316452"/>
                    <a:pt x="458227" y="290793"/>
                    <a:pt x="505267" y="243753"/>
                  </a:cubicBezTo>
                  <a:cubicBezTo>
                    <a:pt x="513820" y="235201"/>
                    <a:pt x="526649" y="235201"/>
                    <a:pt x="535201" y="248030"/>
                  </a:cubicBezTo>
                  <a:cubicBezTo>
                    <a:pt x="543754" y="260859"/>
                    <a:pt x="539478" y="273688"/>
                    <a:pt x="530925" y="282241"/>
                  </a:cubicBezTo>
                  <a:cubicBezTo>
                    <a:pt x="475332" y="337834"/>
                    <a:pt x="415463" y="367768"/>
                    <a:pt x="347041" y="363492"/>
                  </a:cubicBezTo>
                  <a:cubicBezTo>
                    <a:pt x="347041" y="363492"/>
                    <a:pt x="342765" y="363492"/>
                    <a:pt x="342765" y="363492"/>
                  </a:cubicBezTo>
                  <a:cubicBezTo>
                    <a:pt x="300001" y="359215"/>
                    <a:pt x="257237" y="359215"/>
                    <a:pt x="214474" y="350663"/>
                  </a:cubicBezTo>
                  <a:cubicBezTo>
                    <a:pt x="205921" y="350663"/>
                    <a:pt x="167433" y="342110"/>
                    <a:pt x="163157" y="342110"/>
                  </a:cubicBezTo>
                  <a:cubicBezTo>
                    <a:pt x="150328" y="342110"/>
                    <a:pt x="137499" y="337834"/>
                    <a:pt x="124670" y="333557"/>
                  </a:cubicBezTo>
                  <a:cubicBezTo>
                    <a:pt x="111841" y="329281"/>
                    <a:pt x="94735" y="329281"/>
                    <a:pt x="81906" y="325004"/>
                  </a:cubicBezTo>
                  <a:cubicBezTo>
                    <a:pt x="43419" y="316452"/>
                    <a:pt x="9208" y="342110"/>
                    <a:pt x="655" y="384874"/>
                  </a:cubicBezTo>
                  <a:cubicBezTo>
                    <a:pt x="-3621" y="414808"/>
                    <a:pt x="13484" y="449019"/>
                    <a:pt x="39142" y="466125"/>
                  </a:cubicBezTo>
                  <a:cubicBezTo>
                    <a:pt x="51971" y="474677"/>
                    <a:pt x="99011" y="483230"/>
                    <a:pt x="107564" y="487507"/>
                  </a:cubicBezTo>
                  <a:cubicBezTo>
                    <a:pt x="146052" y="496059"/>
                    <a:pt x="184539" y="500336"/>
                    <a:pt x="218750" y="508889"/>
                  </a:cubicBezTo>
                  <a:cubicBezTo>
                    <a:pt x="265790" y="517441"/>
                    <a:pt x="364147" y="521718"/>
                    <a:pt x="364147" y="521718"/>
                  </a:cubicBezTo>
                  <a:cubicBezTo>
                    <a:pt x="368423" y="521718"/>
                    <a:pt x="372699" y="525994"/>
                    <a:pt x="376976" y="530270"/>
                  </a:cubicBezTo>
                  <a:cubicBezTo>
                    <a:pt x="428292" y="611521"/>
                    <a:pt x="479609" y="645732"/>
                    <a:pt x="548031" y="650009"/>
                  </a:cubicBezTo>
                  <a:cubicBezTo>
                    <a:pt x="577965" y="654285"/>
                    <a:pt x="607900" y="650009"/>
                    <a:pt x="642111" y="645732"/>
                  </a:cubicBezTo>
                  <a:cubicBezTo>
                    <a:pt x="672045" y="641456"/>
                    <a:pt x="697704" y="624351"/>
                    <a:pt x="727638" y="615798"/>
                  </a:cubicBezTo>
                  <a:cubicBezTo>
                    <a:pt x="744744" y="607245"/>
                    <a:pt x="761849" y="602969"/>
                    <a:pt x="783231" y="607245"/>
                  </a:cubicBezTo>
                  <a:cubicBezTo>
                    <a:pt x="804613" y="607245"/>
                    <a:pt x="894417" y="637180"/>
                    <a:pt x="915799" y="641456"/>
                  </a:cubicBezTo>
                  <a:cubicBezTo>
                    <a:pt x="915799" y="641456"/>
                    <a:pt x="937180" y="466125"/>
                    <a:pt x="941457" y="457572"/>
                  </a:cubicBezTo>
                  <a:cubicBezTo>
                    <a:pt x="950010" y="410532"/>
                    <a:pt x="962839" y="367768"/>
                    <a:pt x="975668" y="329281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90" name="フリーフォーム: 図形 289">
              <a:extLst>
                <a:ext uri="{FF2B5EF4-FFF2-40B4-BE49-F238E27FC236}">
                  <a16:creationId xmlns:a16="http://schemas.microsoft.com/office/drawing/2014/main" id="{B0F2A376-4CEC-4D00-935E-5E5AF279396A}"/>
                </a:ext>
              </a:extLst>
            </p:cNvPr>
            <p:cNvSpPr/>
            <p:nvPr/>
          </p:nvSpPr>
          <p:spPr>
            <a:xfrm>
              <a:off x="1255146" y="910215"/>
              <a:ext cx="410531" cy="478953"/>
            </a:xfrm>
            <a:custGeom>
              <a:avLst/>
              <a:gdLst>
                <a:gd name="connsiteX0" fmla="*/ 8553 w 410531"/>
                <a:gd name="connsiteY0" fmla="*/ 457572 h 478953"/>
                <a:gd name="connsiteX1" fmla="*/ 0 w 410531"/>
                <a:gd name="connsiteY1" fmla="*/ 474678 h 478953"/>
                <a:gd name="connsiteX2" fmla="*/ 85527 w 410531"/>
                <a:gd name="connsiteY2" fmla="*/ 470401 h 478953"/>
                <a:gd name="connsiteX3" fmla="*/ 85527 w 410531"/>
                <a:gd name="connsiteY3" fmla="*/ 470401 h 478953"/>
                <a:gd name="connsiteX4" fmla="*/ 141120 w 410531"/>
                <a:gd name="connsiteY4" fmla="*/ 478954 h 478953"/>
                <a:gd name="connsiteX5" fmla="*/ 410532 w 410531"/>
                <a:gd name="connsiteY5" fmla="*/ 64146 h 478953"/>
                <a:gd name="connsiteX6" fmla="*/ 312175 w 410531"/>
                <a:gd name="connsiteY6" fmla="*/ 0 h 478953"/>
                <a:gd name="connsiteX7" fmla="*/ 8553 w 410531"/>
                <a:gd name="connsiteY7" fmla="*/ 457572 h 478953"/>
                <a:gd name="connsiteX8" fmla="*/ 8553 w 410531"/>
                <a:gd name="connsiteY8" fmla="*/ 457572 h 478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3">
                  <a:moveTo>
                    <a:pt x="8553" y="457572"/>
                  </a:moveTo>
                  <a:lnTo>
                    <a:pt x="0" y="474678"/>
                  </a:lnTo>
                  <a:cubicBezTo>
                    <a:pt x="0" y="474678"/>
                    <a:pt x="42764" y="461848"/>
                    <a:pt x="85527" y="470401"/>
                  </a:cubicBezTo>
                  <a:lnTo>
                    <a:pt x="85527" y="470401"/>
                  </a:lnTo>
                  <a:cubicBezTo>
                    <a:pt x="102633" y="474678"/>
                    <a:pt x="124015" y="474678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lnTo>
                    <a:pt x="8553" y="457572"/>
                  </a:lnTo>
                  <a:close/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91" name="フリーフォーム: 図形 290">
              <a:extLst>
                <a:ext uri="{FF2B5EF4-FFF2-40B4-BE49-F238E27FC236}">
                  <a16:creationId xmlns:a16="http://schemas.microsoft.com/office/drawing/2014/main" id="{D2DE63D7-5EFD-4D9E-9756-58F1B6F1B2E8}"/>
                </a:ext>
              </a:extLst>
            </p:cNvPr>
            <p:cNvSpPr/>
            <p:nvPr/>
          </p:nvSpPr>
          <p:spPr>
            <a:xfrm>
              <a:off x="934419" y="1692315"/>
              <a:ext cx="218094" cy="282717"/>
            </a:xfrm>
            <a:custGeom>
              <a:avLst/>
              <a:gdLst>
                <a:gd name="connsiteX0" fmla="*/ 111186 w 218094"/>
                <a:gd name="connsiteY0" fmla="*/ 30412 h 282717"/>
                <a:gd name="connsiteX1" fmla="*/ 4276 w 218094"/>
                <a:gd name="connsiteY1" fmla="*/ 77452 h 282717"/>
                <a:gd name="connsiteX2" fmla="*/ 0 w 218094"/>
                <a:gd name="connsiteY2" fmla="*/ 81728 h 282717"/>
                <a:gd name="connsiteX3" fmla="*/ 0 w 218094"/>
                <a:gd name="connsiteY3" fmla="*/ 86004 h 282717"/>
                <a:gd name="connsiteX4" fmla="*/ 8553 w 218094"/>
                <a:gd name="connsiteY4" fmla="*/ 222848 h 282717"/>
                <a:gd name="connsiteX5" fmla="*/ 8553 w 218094"/>
                <a:gd name="connsiteY5" fmla="*/ 269889 h 282717"/>
                <a:gd name="connsiteX6" fmla="*/ 64146 w 218094"/>
                <a:gd name="connsiteY6" fmla="*/ 175808 h 282717"/>
                <a:gd name="connsiteX7" fmla="*/ 64146 w 218094"/>
                <a:gd name="connsiteY7" fmla="*/ 158703 h 282717"/>
                <a:gd name="connsiteX8" fmla="*/ 64146 w 218094"/>
                <a:gd name="connsiteY8" fmla="*/ 137321 h 282717"/>
                <a:gd name="connsiteX9" fmla="*/ 76975 w 218094"/>
                <a:gd name="connsiteY9" fmla="*/ 120215 h 282717"/>
                <a:gd name="connsiteX10" fmla="*/ 124015 w 218094"/>
                <a:gd name="connsiteY10" fmla="*/ 128768 h 282717"/>
                <a:gd name="connsiteX11" fmla="*/ 102633 w 218094"/>
                <a:gd name="connsiteY11" fmla="*/ 180085 h 282717"/>
                <a:gd name="connsiteX12" fmla="*/ 89804 w 218094"/>
                <a:gd name="connsiteY12" fmla="*/ 180085 h 282717"/>
                <a:gd name="connsiteX13" fmla="*/ 81251 w 218094"/>
                <a:gd name="connsiteY13" fmla="*/ 188637 h 282717"/>
                <a:gd name="connsiteX14" fmla="*/ 29935 w 218094"/>
                <a:gd name="connsiteY14" fmla="*/ 282718 h 282717"/>
                <a:gd name="connsiteX15" fmla="*/ 145397 w 218094"/>
                <a:gd name="connsiteY15" fmla="*/ 235678 h 282717"/>
                <a:gd name="connsiteX16" fmla="*/ 196713 w 218094"/>
                <a:gd name="connsiteY16" fmla="*/ 214296 h 282717"/>
                <a:gd name="connsiteX17" fmla="*/ 200989 w 218094"/>
                <a:gd name="connsiteY17" fmla="*/ 210019 h 282717"/>
                <a:gd name="connsiteX18" fmla="*/ 200989 w 218094"/>
                <a:gd name="connsiteY18" fmla="*/ 167256 h 282717"/>
                <a:gd name="connsiteX19" fmla="*/ 200989 w 218094"/>
                <a:gd name="connsiteY19" fmla="*/ 90281 h 282717"/>
                <a:gd name="connsiteX20" fmla="*/ 205266 w 218094"/>
                <a:gd name="connsiteY20" fmla="*/ 68899 h 282717"/>
                <a:gd name="connsiteX21" fmla="*/ 218095 w 218094"/>
                <a:gd name="connsiteY21" fmla="*/ 47517 h 282717"/>
                <a:gd name="connsiteX22" fmla="*/ 141120 w 218094"/>
                <a:gd name="connsiteY22" fmla="*/ 477 h 282717"/>
                <a:gd name="connsiteX23" fmla="*/ 111186 w 218094"/>
                <a:gd name="connsiteY23" fmla="*/ 30412 h 28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717">
                  <a:moveTo>
                    <a:pt x="111186" y="30412"/>
                  </a:moveTo>
                  <a:cubicBezTo>
                    <a:pt x="94080" y="38964"/>
                    <a:pt x="4276" y="77452"/>
                    <a:pt x="4276" y="77452"/>
                  </a:cubicBezTo>
                  <a:cubicBezTo>
                    <a:pt x="4276" y="77452"/>
                    <a:pt x="0" y="77452"/>
                    <a:pt x="0" y="81728"/>
                  </a:cubicBezTo>
                  <a:cubicBezTo>
                    <a:pt x="0" y="81728"/>
                    <a:pt x="0" y="86004"/>
                    <a:pt x="0" y="86004"/>
                  </a:cubicBezTo>
                  <a:cubicBezTo>
                    <a:pt x="0" y="86004"/>
                    <a:pt x="8553" y="222848"/>
                    <a:pt x="8553" y="222848"/>
                  </a:cubicBezTo>
                  <a:lnTo>
                    <a:pt x="8553" y="269889"/>
                  </a:lnTo>
                  <a:cubicBezTo>
                    <a:pt x="12829" y="261336"/>
                    <a:pt x="64146" y="184361"/>
                    <a:pt x="64146" y="175808"/>
                  </a:cubicBezTo>
                  <a:cubicBezTo>
                    <a:pt x="68422" y="167256"/>
                    <a:pt x="68422" y="167256"/>
                    <a:pt x="64146" y="158703"/>
                  </a:cubicBezTo>
                  <a:cubicBezTo>
                    <a:pt x="64146" y="154426"/>
                    <a:pt x="59869" y="145874"/>
                    <a:pt x="64146" y="137321"/>
                  </a:cubicBezTo>
                  <a:cubicBezTo>
                    <a:pt x="68422" y="128768"/>
                    <a:pt x="76975" y="120215"/>
                    <a:pt x="76975" y="120215"/>
                  </a:cubicBezTo>
                  <a:cubicBezTo>
                    <a:pt x="94080" y="111663"/>
                    <a:pt x="111186" y="115939"/>
                    <a:pt x="124015" y="128768"/>
                  </a:cubicBezTo>
                  <a:cubicBezTo>
                    <a:pt x="136844" y="145874"/>
                    <a:pt x="124015" y="175808"/>
                    <a:pt x="102633" y="180085"/>
                  </a:cubicBezTo>
                  <a:cubicBezTo>
                    <a:pt x="98357" y="180085"/>
                    <a:pt x="94080" y="180085"/>
                    <a:pt x="89804" y="180085"/>
                  </a:cubicBezTo>
                  <a:cubicBezTo>
                    <a:pt x="85527" y="180085"/>
                    <a:pt x="81251" y="184361"/>
                    <a:pt x="81251" y="188637"/>
                  </a:cubicBezTo>
                  <a:cubicBezTo>
                    <a:pt x="76975" y="210019"/>
                    <a:pt x="29935" y="282718"/>
                    <a:pt x="29935" y="282718"/>
                  </a:cubicBezTo>
                  <a:lnTo>
                    <a:pt x="145397" y="235678"/>
                  </a:lnTo>
                  <a:lnTo>
                    <a:pt x="196713" y="214296"/>
                  </a:lnTo>
                  <a:cubicBezTo>
                    <a:pt x="196713" y="214296"/>
                    <a:pt x="200989" y="214296"/>
                    <a:pt x="200989" y="210019"/>
                  </a:cubicBezTo>
                  <a:lnTo>
                    <a:pt x="200989" y="167256"/>
                  </a:lnTo>
                  <a:lnTo>
                    <a:pt x="200989" y="90281"/>
                  </a:lnTo>
                  <a:cubicBezTo>
                    <a:pt x="200989" y="90281"/>
                    <a:pt x="200989" y="77452"/>
                    <a:pt x="205266" y="68899"/>
                  </a:cubicBezTo>
                  <a:cubicBezTo>
                    <a:pt x="209542" y="60346"/>
                    <a:pt x="218095" y="47517"/>
                    <a:pt x="218095" y="47517"/>
                  </a:cubicBezTo>
                  <a:lnTo>
                    <a:pt x="141120" y="477"/>
                  </a:lnTo>
                  <a:cubicBezTo>
                    <a:pt x="141120" y="-3799"/>
                    <a:pt x="128291" y="21859"/>
                    <a:pt x="111186" y="30412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292" name="フリーフォーム: 図形 291">
              <a:extLst>
                <a:ext uri="{FF2B5EF4-FFF2-40B4-BE49-F238E27FC236}">
                  <a16:creationId xmlns:a16="http://schemas.microsoft.com/office/drawing/2014/main" id="{BC7A7AA1-8DFD-43B9-BE2C-AE5DDF46F8AE}"/>
                </a:ext>
              </a:extLst>
            </p:cNvPr>
            <p:cNvSpPr/>
            <p:nvPr/>
          </p:nvSpPr>
          <p:spPr>
            <a:xfrm>
              <a:off x="728536" y="2008415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4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2"/>
                    <a:pt x="210159" y="-3448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70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6292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8794" y="176160"/>
                    <a:pt x="1471689" y="163331"/>
                    <a:pt x="1454583" y="163331"/>
                  </a:cubicBezTo>
                </a:path>
              </a:pathLst>
            </a:custGeom>
            <a:solidFill>
              <a:srgbClr val="15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3599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</p:grpSp>
      <p:pic>
        <p:nvPicPr>
          <p:cNvPr id="293" name="図 292">
            <a:extLst>
              <a:ext uri="{FF2B5EF4-FFF2-40B4-BE49-F238E27FC236}">
                <a16:creationId xmlns:a16="http://schemas.microsoft.com/office/drawing/2014/main" id="{4583FA65-4FD3-44C5-BBE6-21B45F34ED50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762" y="4353983"/>
            <a:ext cx="2527002" cy="1765091"/>
          </a:xfrm>
          <a:prstGeom prst="rect">
            <a:avLst/>
          </a:prstGeom>
        </p:spPr>
      </p:pic>
      <p:grpSp>
        <p:nvGrpSpPr>
          <p:cNvPr id="302" name="グループ化 301">
            <a:extLst>
              <a:ext uri="{FF2B5EF4-FFF2-40B4-BE49-F238E27FC236}">
                <a16:creationId xmlns:a16="http://schemas.microsoft.com/office/drawing/2014/main" id="{9B978F31-AAA7-47A3-AD09-551EA405384E}"/>
              </a:ext>
            </a:extLst>
          </p:cNvPr>
          <p:cNvGrpSpPr/>
          <p:nvPr/>
        </p:nvGrpSpPr>
        <p:grpSpPr>
          <a:xfrm>
            <a:off x="9903514" y="2626694"/>
            <a:ext cx="1085394" cy="2681189"/>
            <a:chOff x="19803852" y="5253387"/>
            <a:chExt cx="2170787" cy="5362377"/>
          </a:xfrm>
        </p:grpSpPr>
        <p:sp>
          <p:nvSpPr>
            <p:cNvPr id="303" name="矢印: 左 302">
              <a:extLst>
                <a:ext uri="{FF2B5EF4-FFF2-40B4-BE49-F238E27FC236}">
                  <a16:creationId xmlns:a16="http://schemas.microsoft.com/office/drawing/2014/main" id="{06494C85-2827-4F50-A4A6-2A9EA03B5D13}"/>
                </a:ext>
              </a:extLst>
            </p:cNvPr>
            <p:cNvSpPr/>
            <p:nvPr/>
          </p:nvSpPr>
          <p:spPr>
            <a:xfrm>
              <a:off x="19803852" y="9927229"/>
              <a:ext cx="1990252" cy="688535"/>
            </a:xfrm>
            <a:prstGeom prst="left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40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  <p:sp>
          <p:nvSpPr>
            <p:cNvPr id="304" name="矢印: 左 303">
              <a:extLst>
                <a:ext uri="{FF2B5EF4-FFF2-40B4-BE49-F238E27FC236}">
                  <a16:creationId xmlns:a16="http://schemas.microsoft.com/office/drawing/2014/main" id="{3FDDFF73-B48E-4512-9C4A-BCB461AC40A1}"/>
                </a:ext>
              </a:extLst>
            </p:cNvPr>
            <p:cNvSpPr/>
            <p:nvPr/>
          </p:nvSpPr>
          <p:spPr>
            <a:xfrm rot="16200000">
              <a:off x="19042376" y="7497115"/>
              <a:ext cx="5175992" cy="688535"/>
            </a:xfrm>
            <a:prstGeom prst="leftArrow">
              <a:avLst>
                <a:gd name="adj1" fmla="val 50000"/>
                <a:gd name="adj2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400" dirty="0">
                <a:latin typeface="Arial" panose="020B0604020202020204" pitchFamily="34" charset="0"/>
                <a:ea typeface="UD Digi Kyokasho N-B" panose="02020700000000000000" pitchFamily="17" charset="-128"/>
                <a:cs typeface="Arial" panose="020B0604020202020204" pitchFamily="34" charset="0"/>
              </a:endParaRPr>
            </a:p>
          </p:txBody>
        </p:sp>
      </p:grpSp>
      <p:pic>
        <p:nvPicPr>
          <p:cNvPr id="305" name="Picture 2" descr="クラウドファイルサービスBoxの特徴とデメリット - 3rdコンサルティング株式会社">
            <a:extLst>
              <a:ext uri="{FF2B5EF4-FFF2-40B4-BE49-F238E27FC236}">
                <a16:creationId xmlns:a16="http://schemas.microsoft.com/office/drawing/2014/main" id="{9DD52B18-DFFF-40DB-BF73-540E522A1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7246" y="1551134"/>
            <a:ext cx="538863" cy="34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6" name="図 305">
            <a:extLst>
              <a:ext uri="{FF2B5EF4-FFF2-40B4-BE49-F238E27FC236}">
                <a16:creationId xmlns:a16="http://schemas.microsoft.com/office/drawing/2014/main" id="{C87FBD6B-E887-45A3-A27A-650965A1D41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119846" y="1939400"/>
            <a:ext cx="993665" cy="291002"/>
          </a:xfrm>
          <a:prstGeom prst="rect">
            <a:avLst/>
          </a:prstGeom>
        </p:spPr>
      </p:pic>
      <p:pic>
        <p:nvPicPr>
          <p:cNvPr id="307" name="図 306">
            <a:extLst>
              <a:ext uri="{FF2B5EF4-FFF2-40B4-BE49-F238E27FC236}">
                <a16:creationId xmlns:a16="http://schemas.microsoft.com/office/drawing/2014/main" id="{77C7DC08-50A7-4A79-898B-86F38598E3F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309945" y="2244967"/>
            <a:ext cx="750798" cy="522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040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>
            <a:extLst>
              <a:ext uri="{FF2B5EF4-FFF2-40B4-BE49-F238E27FC236}">
                <a16:creationId xmlns:a16="http://schemas.microsoft.com/office/drawing/2014/main" id="{7F11A035-DD8A-42B0-B695-458B3F4F9CE7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997D4997-F174-4192-9886-A05E23ED17C6}"/>
              </a:ext>
            </a:extLst>
          </p:cNvPr>
          <p:cNvSpPr/>
          <p:nvPr/>
        </p:nvSpPr>
        <p:spPr>
          <a:xfrm>
            <a:off x="593160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F1E87D67-E45E-4E73-A429-FF3905DE40C9}"/>
              </a:ext>
            </a:extLst>
          </p:cNvPr>
          <p:cNvSpPr/>
          <p:nvPr/>
        </p:nvSpPr>
        <p:spPr>
          <a:xfrm>
            <a:off x="771255" y="1358052"/>
            <a:ext cx="1082034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reating a new document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Blank notebook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PDF drawing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s saved in the photo library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 taken on the spot</a:t>
            </a:r>
          </a:p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Draw Tool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①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Ballpoint pen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②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Highlighter (highlighter)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③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Text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④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Paste graphic object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⑤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Line / balloon line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⑥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Eraser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ja-JP" altLang="en-US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⑦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 Quoits tool</a:t>
            </a:r>
            <a:endParaRPr kumimoji="0" lang="zh-TW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A25581F2-947C-4CDA-8EF9-F400518DEECE}"/>
              </a:ext>
            </a:extLst>
          </p:cNvPr>
          <p:cNvGrpSpPr/>
          <p:nvPr/>
        </p:nvGrpSpPr>
        <p:grpSpPr>
          <a:xfrm>
            <a:off x="993600" y="498754"/>
            <a:ext cx="3752249" cy="628297"/>
            <a:chOff x="600862" y="4369802"/>
            <a:chExt cx="10981721" cy="1838840"/>
          </a:xfrm>
        </p:grpSpPr>
        <p:sp>
          <p:nvSpPr>
            <p:cNvPr id="10" name="フリーフォーム: 図形 9">
              <a:extLst>
                <a:ext uri="{FF2B5EF4-FFF2-40B4-BE49-F238E27FC236}">
                  <a16:creationId xmlns:a16="http://schemas.microsoft.com/office/drawing/2014/main" id="{DADFBE3D-0A40-4806-9882-E38D7C13B08C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フリーフォーム: 図形 10">
              <a:extLst>
                <a:ext uri="{FF2B5EF4-FFF2-40B4-BE49-F238E27FC236}">
                  <a16:creationId xmlns:a16="http://schemas.microsoft.com/office/drawing/2014/main" id="{93A22958-188E-4AC8-A40B-1D2AC6434AE2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フリーフォーム: 図形 11">
              <a:extLst>
                <a:ext uri="{FF2B5EF4-FFF2-40B4-BE49-F238E27FC236}">
                  <a16:creationId xmlns:a16="http://schemas.microsoft.com/office/drawing/2014/main" id="{CBC802D3-7FFC-4F93-975A-EE40D98A85DE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フリーフォーム: 図形 12">
              <a:extLst>
                <a:ext uri="{FF2B5EF4-FFF2-40B4-BE49-F238E27FC236}">
                  <a16:creationId xmlns:a16="http://schemas.microsoft.com/office/drawing/2014/main" id="{E5DFD0F1-0270-4CBF-9870-10C12F969F99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フリーフォーム: 図形 13">
              <a:extLst>
                <a:ext uri="{FF2B5EF4-FFF2-40B4-BE49-F238E27FC236}">
                  <a16:creationId xmlns:a16="http://schemas.microsoft.com/office/drawing/2014/main" id="{4D4EB815-4172-4E88-8C23-326568AB4FF5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フリーフォーム: 図形 14">
              <a:extLst>
                <a:ext uri="{FF2B5EF4-FFF2-40B4-BE49-F238E27FC236}">
                  <a16:creationId xmlns:a16="http://schemas.microsoft.com/office/drawing/2014/main" id="{B3115E24-0B23-49FF-8B18-E8193F5A7032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フリーフォーム: 図形 15">
              <a:extLst>
                <a:ext uri="{FF2B5EF4-FFF2-40B4-BE49-F238E27FC236}">
                  <a16:creationId xmlns:a16="http://schemas.microsoft.com/office/drawing/2014/main" id="{708BF764-407A-4EBE-A4B6-BDC11BAF021E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フリーフォーム: 図形 16">
              <a:extLst>
                <a:ext uri="{FF2B5EF4-FFF2-40B4-BE49-F238E27FC236}">
                  <a16:creationId xmlns:a16="http://schemas.microsoft.com/office/drawing/2014/main" id="{4A30048F-3C66-4294-AADE-AD17C5F5F824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フリーフォーム: 図形 17">
              <a:extLst>
                <a:ext uri="{FF2B5EF4-FFF2-40B4-BE49-F238E27FC236}">
                  <a16:creationId xmlns:a16="http://schemas.microsoft.com/office/drawing/2014/main" id="{AC4FF103-2798-41A4-A067-1028489188A1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フリーフォーム: 図形 18">
              <a:extLst>
                <a:ext uri="{FF2B5EF4-FFF2-40B4-BE49-F238E27FC236}">
                  <a16:creationId xmlns:a16="http://schemas.microsoft.com/office/drawing/2014/main" id="{1FF639A7-2289-4E04-B76B-29126551FE4B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フリーフォーム: 図形 19">
              <a:extLst>
                <a:ext uri="{FF2B5EF4-FFF2-40B4-BE49-F238E27FC236}">
                  <a16:creationId xmlns:a16="http://schemas.microsoft.com/office/drawing/2014/main" id="{BC75AE0E-36F2-4305-BD93-CB7C40B8252B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フリーフォーム: 図形 20">
              <a:extLst>
                <a:ext uri="{FF2B5EF4-FFF2-40B4-BE49-F238E27FC236}">
                  <a16:creationId xmlns:a16="http://schemas.microsoft.com/office/drawing/2014/main" id="{C4B8C9B5-DB60-48A1-A78B-909E15ED2E08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フリーフォーム: 図形 21">
              <a:extLst>
                <a:ext uri="{FF2B5EF4-FFF2-40B4-BE49-F238E27FC236}">
                  <a16:creationId xmlns:a16="http://schemas.microsoft.com/office/drawing/2014/main" id="{DBB83446-A8D0-4F9E-A040-5864AA18453F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フリーフォーム: 図形 22">
              <a:extLst>
                <a:ext uri="{FF2B5EF4-FFF2-40B4-BE49-F238E27FC236}">
                  <a16:creationId xmlns:a16="http://schemas.microsoft.com/office/drawing/2014/main" id="{E5785749-08BB-435D-A537-9D0FCC932640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C359C923-4E13-4940-A90C-2E5F9A06F3EB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AC545CB0-9716-4D55-AE2B-15B7825C7344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フリーフォーム: 図形 26">
              <a:extLst>
                <a:ext uri="{FF2B5EF4-FFF2-40B4-BE49-F238E27FC236}">
                  <a16:creationId xmlns:a16="http://schemas.microsoft.com/office/drawing/2014/main" id="{90F294CB-88FF-459D-BF9B-9198CED1E4D1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フリーフォーム: 図形 27">
              <a:extLst>
                <a:ext uri="{FF2B5EF4-FFF2-40B4-BE49-F238E27FC236}">
                  <a16:creationId xmlns:a16="http://schemas.microsoft.com/office/drawing/2014/main" id="{29AD605D-C6F6-42F8-BFF3-39EA25CB3296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フリーフォーム: 図形 28">
              <a:extLst>
                <a:ext uri="{FF2B5EF4-FFF2-40B4-BE49-F238E27FC236}">
                  <a16:creationId xmlns:a16="http://schemas.microsoft.com/office/drawing/2014/main" id="{60C54882-A702-4A19-BEA0-C2E8E8ECE048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フリーフォーム: 図形 29">
              <a:extLst>
                <a:ext uri="{FF2B5EF4-FFF2-40B4-BE49-F238E27FC236}">
                  <a16:creationId xmlns:a16="http://schemas.microsoft.com/office/drawing/2014/main" id="{AB2E2E80-D131-4C52-A398-1D1DF436E630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フリーフォーム: 図形 30">
              <a:extLst>
                <a:ext uri="{FF2B5EF4-FFF2-40B4-BE49-F238E27FC236}">
                  <a16:creationId xmlns:a16="http://schemas.microsoft.com/office/drawing/2014/main" id="{8FDCAEC3-B4EF-4830-91D6-11568D3023B6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フリーフォーム: 図形 31">
              <a:extLst>
                <a:ext uri="{FF2B5EF4-FFF2-40B4-BE49-F238E27FC236}">
                  <a16:creationId xmlns:a16="http://schemas.microsoft.com/office/drawing/2014/main" id="{7AE31C80-F316-4B7F-96B3-4826EA9DE69F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フリーフォーム: 図形 32">
              <a:extLst>
                <a:ext uri="{FF2B5EF4-FFF2-40B4-BE49-F238E27FC236}">
                  <a16:creationId xmlns:a16="http://schemas.microsoft.com/office/drawing/2014/main" id="{2DDA0EC0-EBA8-413F-87C8-5F7C5974434A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フリーフォーム: 図形 33">
              <a:extLst>
                <a:ext uri="{FF2B5EF4-FFF2-40B4-BE49-F238E27FC236}">
                  <a16:creationId xmlns:a16="http://schemas.microsoft.com/office/drawing/2014/main" id="{3DFF7DFF-1193-4642-8F3A-D0DE672226F9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046075E8-61B2-47B9-B87B-01F167C2E52B}"/>
              </a:ext>
            </a:extLst>
          </p:cNvPr>
          <p:cNvSpPr txBox="1"/>
          <p:nvPr/>
        </p:nvSpPr>
        <p:spPr>
          <a:xfrm>
            <a:off x="4785561" y="519053"/>
            <a:ext cx="6094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ain functions</a:t>
            </a:r>
            <a:endParaRPr lang="ja-JP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907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>
            <a:extLst>
              <a:ext uri="{FF2B5EF4-FFF2-40B4-BE49-F238E27FC236}">
                <a16:creationId xmlns:a16="http://schemas.microsoft.com/office/drawing/2014/main" id="{7F11A035-DD8A-42B0-B695-458B3F4F9CE7}"/>
              </a:ext>
            </a:extLst>
          </p:cNvPr>
          <p:cNvSpPr txBox="1"/>
          <p:nvPr/>
        </p:nvSpPr>
        <p:spPr>
          <a:xfrm>
            <a:off x="883715" y="143468"/>
            <a:ext cx="1792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spc="3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217">
              <a:defRPr/>
            </a:pPr>
            <a:r>
              <a:rPr kumimoji="0" lang="en-US" altLang="ja-JP" sz="1200" spc="150" dirty="0">
                <a:solidFill>
                  <a:srgbClr val="99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Mas i-Reporter</a:t>
            </a:r>
            <a:endParaRPr kumimoji="0" lang="en-US" sz="1200" spc="150" dirty="0">
              <a:solidFill>
                <a:srgbClr val="9999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997D4997-F174-4192-9886-A05E23ED17C6}"/>
              </a:ext>
            </a:extLst>
          </p:cNvPr>
          <p:cNvSpPr/>
          <p:nvPr/>
        </p:nvSpPr>
        <p:spPr>
          <a:xfrm>
            <a:off x="593160" y="0"/>
            <a:ext cx="127591" cy="1127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>
              <a:defRPr/>
            </a:pPr>
            <a:endParaRPr kumimoji="0"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F1E87D67-E45E-4E73-A429-FF3905DE40C9}"/>
              </a:ext>
            </a:extLst>
          </p:cNvPr>
          <p:cNvSpPr/>
          <p:nvPr/>
        </p:nvSpPr>
        <p:spPr>
          <a:xfrm>
            <a:off x="771255" y="1358052"/>
            <a:ext cx="10820349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Pasting other documents and contents (partial cutting is also possible)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 taken on the spot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PDF drawing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User-specific stamp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</a:t>
            </a: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-Reporter Library Documents</a:t>
            </a:r>
          </a:p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Add / remove pages</a:t>
            </a: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Blank paper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PDF drawing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</a:t>
            </a:r>
            <a:endParaRPr kumimoji="0" lang="ja-JP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800100" lvl="1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mage taken on the spot</a:t>
            </a:r>
          </a:p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py page</a:t>
            </a:r>
          </a:p>
          <a:p>
            <a:pPr marL="342900" indent="-342900" defTabSz="914217">
              <a:buFont typeface="Arial" panose="020B0604020202020204" pitchFamily="34" charset="0"/>
              <a:buChar char="•"/>
              <a:defRPr/>
            </a:pPr>
            <a:r>
              <a:rPr kumimoji="0" lang="en-US" altLang="ja-JP" sz="2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Sort pages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8F0A2EE9-643A-4060-AA48-1F3105965E25}"/>
              </a:ext>
            </a:extLst>
          </p:cNvPr>
          <p:cNvGrpSpPr/>
          <p:nvPr/>
        </p:nvGrpSpPr>
        <p:grpSpPr>
          <a:xfrm>
            <a:off x="993600" y="498754"/>
            <a:ext cx="3752249" cy="628297"/>
            <a:chOff x="600862" y="4369802"/>
            <a:chExt cx="10981721" cy="1838840"/>
          </a:xfrm>
        </p:grpSpPr>
        <p:sp>
          <p:nvSpPr>
            <p:cNvPr id="10" name="フリーフォーム: 図形 9">
              <a:extLst>
                <a:ext uri="{FF2B5EF4-FFF2-40B4-BE49-F238E27FC236}">
                  <a16:creationId xmlns:a16="http://schemas.microsoft.com/office/drawing/2014/main" id="{0322B671-1434-4ABA-87A7-EF00C28A9C96}"/>
                </a:ext>
              </a:extLst>
            </p:cNvPr>
            <p:cNvSpPr/>
            <p:nvPr/>
          </p:nvSpPr>
          <p:spPr>
            <a:xfrm>
              <a:off x="3008459" y="4793163"/>
              <a:ext cx="196713" cy="846721"/>
            </a:xfrm>
            <a:custGeom>
              <a:avLst/>
              <a:gdLst>
                <a:gd name="connsiteX0" fmla="*/ 196713 w 196713"/>
                <a:gd name="connsiteY0" fmla="*/ 94080 h 846721"/>
                <a:gd name="connsiteX1" fmla="*/ 98357 w 196713"/>
                <a:gd name="connsiteY1" fmla="*/ 188161 h 846721"/>
                <a:gd name="connsiteX2" fmla="*/ 0 w 196713"/>
                <a:gd name="connsiteY2" fmla="*/ 94080 h 846721"/>
                <a:gd name="connsiteX3" fmla="*/ 98357 w 196713"/>
                <a:gd name="connsiteY3" fmla="*/ 0 h 846721"/>
                <a:gd name="connsiteX4" fmla="*/ 196713 w 196713"/>
                <a:gd name="connsiteY4" fmla="*/ 94080 h 846721"/>
                <a:gd name="connsiteX5" fmla="*/ 175331 w 196713"/>
                <a:gd name="connsiteY5" fmla="*/ 846722 h 846721"/>
                <a:gd name="connsiteX6" fmla="*/ 25658 w 196713"/>
                <a:gd name="connsiteY6" fmla="*/ 846722 h 846721"/>
                <a:gd name="connsiteX7" fmla="*/ 25658 w 196713"/>
                <a:gd name="connsiteY7" fmla="*/ 295070 h 846721"/>
                <a:gd name="connsiteX8" fmla="*/ 175331 w 196713"/>
                <a:gd name="connsiteY8" fmla="*/ 295070 h 846721"/>
                <a:gd name="connsiteX9" fmla="*/ 175331 w 196713"/>
                <a:gd name="connsiteY9" fmla="*/ 846722 h 846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6713" h="846721">
                  <a:moveTo>
                    <a:pt x="196713" y="94080"/>
                  </a:moveTo>
                  <a:cubicBezTo>
                    <a:pt x="196713" y="145397"/>
                    <a:pt x="153949" y="188161"/>
                    <a:pt x="98357" y="188161"/>
                  </a:cubicBezTo>
                  <a:cubicBezTo>
                    <a:pt x="42764" y="188161"/>
                    <a:pt x="0" y="149673"/>
                    <a:pt x="0" y="94080"/>
                  </a:cubicBezTo>
                  <a:cubicBezTo>
                    <a:pt x="0" y="38487"/>
                    <a:pt x="42764" y="0"/>
                    <a:pt x="98357" y="0"/>
                  </a:cubicBezTo>
                  <a:cubicBezTo>
                    <a:pt x="153949" y="0"/>
                    <a:pt x="196713" y="38487"/>
                    <a:pt x="196713" y="94080"/>
                  </a:cubicBezTo>
                  <a:moveTo>
                    <a:pt x="175331" y="846722"/>
                  </a:moveTo>
                  <a:lnTo>
                    <a:pt x="25658" y="846722"/>
                  </a:lnTo>
                  <a:lnTo>
                    <a:pt x="25658" y="295070"/>
                  </a:lnTo>
                  <a:lnTo>
                    <a:pt x="175331" y="295070"/>
                  </a:lnTo>
                  <a:lnTo>
                    <a:pt x="175331" y="846722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フリーフォーム: 図形 10">
              <a:extLst>
                <a:ext uri="{FF2B5EF4-FFF2-40B4-BE49-F238E27FC236}">
                  <a16:creationId xmlns:a16="http://schemas.microsoft.com/office/drawing/2014/main" id="{E9B3F931-139A-41E5-98AD-3A12FEE7E431}"/>
                </a:ext>
              </a:extLst>
            </p:cNvPr>
            <p:cNvSpPr/>
            <p:nvPr/>
          </p:nvSpPr>
          <p:spPr>
            <a:xfrm>
              <a:off x="3299252" y="5220800"/>
              <a:ext cx="282240" cy="128291"/>
            </a:xfrm>
            <a:custGeom>
              <a:avLst/>
              <a:gdLst>
                <a:gd name="connsiteX0" fmla="*/ 0 w 282240"/>
                <a:gd name="connsiteY0" fmla="*/ 0 h 128291"/>
                <a:gd name="connsiteX1" fmla="*/ 282240 w 282240"/>
                <a:gd name="connsiteY1" fmla="*/ 0 h 128291"/>
                <a:gd name="connsiteX2" fmla="*/ 282240 w 282240"/>
                <a:gd name="connsiteY2" fmla="*/ 128291 h 128291"/>
                <a:gd name="connsiteX3" fmla="*/ 0 w 282240"/>
                <a:gd name="connsiteY3" fmla="*/ 128291 h 128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240" h="128291">
                  <a:moveTo>
                    <a:pt x="0" y="0"/>
                  </a:moveTo>
                  <a:lnTo>
                    <a:pt x="282240" y="0"/>
                  </a:lnTo>
                  <a:lnTo>
                    <a:pt x="282240" y="128291"/>
                  </a:lnTo>
                  <a:lnTo>
                    <a:pt x="0" y="128291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フリーフォーム: 図形 11">
              <a:extLst>
                <a:ext uri="{FF2B5EF4-FFF2-40B4-BE49-F238E27FC236}">
                  <a16:creationId xmlns:a16="http://schemas.microsoft.com/office/drawing/2014/main" id="{B8AB3749-0A80-449D-BA8D-B669B3A21C4B}"/>
                </a:ext>
              </a:extLst>
            </p:cNvPr>
            <p:cNvSpPr/>
            <p:nvPr/>
          </p:nvSpPr>
          <p:spPr>
            <a:xfrm>
              <a:off x="3718337" y="4904348"/>
              <a:ext cx="624350" cy="739812"/>
            </a:xfrm>
            <a:custGeom>
              <a:avLst/>
              <a:gdLst>
                <a:gd name="connsiteX0" fmla="*/ 453295 w 624350"/>
                <a:gd name="connsiteY0" fmla="*/ 735536 h 739812"/>
                <a:gd name="connsiteX1" fmla="*/ 260859 w 624350"/>
                <a:gd name="connsiteY1" fmla="*/ 474677 h 739812"/>
                <a:gd name="connsiteX2" fmla="*/ 149673 w 624350"/>
                <a:gd name="connsiteY2" fmla="*/ 474677 h 739812"/>
                <a:gd name="connsiteX3" fmla="*/ 149673 w 624350"/>
                <a:gd name="connsiteY3" fmla="*/ 735536 h 739812"/>
                <a:gd name="connsiteX4" fmla="*/ 0 w 624350"/>
                <a:gd name="connsiteY4" fmla="*/ 735536 h 739812"/>
                <a:gd name="connsiteX5" fmla="*/ 0 w 624350"/>
                <a:gd name="connsiteY5" fmla="*/ 0 h 739812"/>
                <a:gd name="connsiteX6" fmla="*/ 277964 w 624350"/>
                <a:gd name="connsiteY6" fmla="*/ 0 h 739812"/>
                <a:gd name="connsiteX7" fmla="*/ 543099 w 624350"/>
                <a:gd name="connsiteY7" fmla="*/ 239477 h 739812"/>
                <a:gd name="connsiteX8" fmla="*/ 414808 w 624350"/>
                <a:gd name="connsiteY8" fmla="*/ 449019 h 739812"/>
                <a:gd name="connsiteX9" fmla="*/ 624350 w 624350"/>
                <a:gd name="connsiteY9" fmla="*/ 739813 h 739812"/>
                <a:gd name="connsiteX10" fmla="*/ 453295 w 624350"/>
                <a:gd name="connsiteY10" fmla="*/ 739813 h 739812"/>
                <a:gd name="connsiteX11" fmla="*/ 153949 w 624350"/>
                <a:gd name="connsiteY11" fmla="*/ 342110 h 739812"/>
                <a:gd name="connsiteX12" fmla="*/ 282241 w 624350"/>
                <a:gd name="connsiteY12" fmla="*/ 342110 h 739812"/>
                <a:gd name="connsiteX13" fmla="*/ 393426 w 624350"/>
                <a:gd name="connsiteY13" fmla="*/ 235201 h 739812"/>
                <a:gd name="connsiteX14" fmla="*/ 282241 w 624350"/>
                <a:gd name="connsiteY14" fmla="*/ 128291 h 739812"/>
                <a:gd name="connsiteX15" fmla="*/ 153949 w 624350"/>
                <a:gd name="connsiteY15" fmla="*/ 128291 h 739812"/>
                <a:gd name="connsiteX16" fmla="*/ 153949 w 624350"/>
                <a:gd name="connsiteY16" fmla="*/ 342110 h 73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24350" h="739812">
                  <a:moveTo>
                    <a:pt x="453295" y="735536"/>
                  </a:moveTo>
                  <a:lnTo>
                    <a:pt x="260859" y="474677"/>
                  </a:lnTo>
                  <a:lnTo>
                    <a:pt x="149673" y="474677"/>
                  </a:lnTo>
                  <a:lnTo>
                    <a:pt x="149673" y="735536"/>
                  </a:lnTo>
                  <a:lnTo>
                    <a:pt x="0" y="735536"/>
                  </a:lnTo>
                  <a:lnTo>
                    <a:pt x="0" y="0"/>
                  </a:lnTo>
                  <a:lnTo>
                    <a:pt x="277964" y="0"/>
                  </a:lnTo>
                  <a:cubicBezTo>
                    <a:pt x="431914" y="0"/>
                    <a:pt x="543099" y="94080"/>
                    <a:pt x="543099" y="239477"/>
                  </a:cubicBezTo>
                  <a:cubicBezTo>
                    <a:pt x="543099" y="333557"/>
                    <a:pt x="491783" y="410532"/>
                    <a:pt x="414808" y="449019"/>
                  </a:cubicBezTo>
                  <a:lnTo>
                    <a:pt x="624350" y="739813"/>
                  </a:lnTo>
                  <a:lnTo>
                    <a:pt x="453295" y="739813"/>
                  </a:lnTo>
                  <a:close/>
                  <a:moveTo>
                    <a:pt x="153949" y="342110"/>
                  </a:moveTo>
                  <a:lnTo>
                    <a:pt x="282241" y="342110"/>
                  </a:lnTo>
                  <a:cubicBezTo>
                    <a:pt x="350662" y="342110"/>
                    <a:pt x="393426" y="299346"/>
                    <a:pt x="393426" y="235201"/>
                  </a:cubicBezTo>
                  <a:cubicBezTo>
                    <a:pt x="393426" y="175331"/>
                    <a:pt x="350662" y="128291"/>
                    <a:pt x="282241" y="128291"/>
                  </a:cubicBezTo>
                  <a:lnTo>
                    <a:pt x="153949" y="128291"/>
                  </a:lnTo>
                  <a:lnTo>
                    <a:pt x="153949" y="34211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フリーフォーム: 図形 12">
              <a:extLst>
                <a:ext uri="{FF2B5EF4-FFF2-40B4-BE49-F238E27FC236}">
                  <a16:creationId xmlns:a16="http://schemas.microsoft.com/office/drawing/2014/main" id="{0C29BE44-130B-4C0C-8EEF-99B13139DA4E}"/>
                </a:ext>
              </a:extLst>
            </p:cNvPr>
            <p:cNvSpPr/>
            <p:nvPr/>
          </p:nvSpPr>
          <p:spPr>
            <a:xfrm>
              <a:off x="4364069" y="5071127"/>
              <a:ext cx="551652" cy="581586"/>
            </a:xfrm>
            <a:custGeom>
              <a:avLst/>
              <a:gdLst>
                <a:gd name="connsiteX0" fmla="*/ 538823 w 551652"/>
                <a:gd name="connsiteY0" fmla="*/ 342110 h 581586"/>
                <a:gd name="connsiteX1" fmla="*/ 149673 w 551652"/>
                <a:gd name="connsiteY1" fmla="*/ 342110 h 581586"/>
                <a:gd name="connsiteX2" fmla="*/ 307899 w 551652"/>
                <a:gd name="connsiteY2" fmla="*/ 453296 h 581586"/>
                <a:gd name="connsiteX3" fmla="*/ 461848 w 551652"/>
                <a:gd name="connsiteY3" fmla="*/ 397703 h 581586"/>
                <a:gd name="connsiteX4" fmla="*/ 525994 w 551652"/>
                <a:gd name="connsiteY4" fmla="*/ 500336 h 581586"/>
                <a:gd name="connsiteX5" fmla="*/ 303622 w 551652"/>
                <a:gd name="connsiteY5" fmla="*/ 581587 h 581586"/>
                <a:gd name="connsiteX6" fmla="*/ 0 w 551652"/>
                <a:gd name="connsiteY6" fmla="*/ 290793 h 581586"/>
                <a:gd name="connsiteX7" fmla="*/ 290793 w 551652"/>
                <a:gd name="connsiteY7" fmla="*/ 0 h 581586"/>
                <a:gd name="connsiteX8" fmla="*/ 551652 w 551652"/>
                <a:gd name="connsiteY8" fmla="*/ 256582 h 581586"/>
                <a:gd name="connsiteX9" fmla="*/ 538823 w 551652"/>
                <a:gd name="connsiteY9" fmla="*/ 342110 h 581586"/>
                <a:gd name="connsiteX10" fmla="*/ 149673 w 551652"/>
                <a:gd name="connsiteY10" fmla="*/ 239477 h 581586"/>
                <a:gd name="connsiteX11" fmla="*/ 401979 w 551652"/>
                <a:gd name="connsiteY11" fmla="*/ 239477 h 581586"/>
                <a:gd name="connsiteX12" fmla="*/ 282241 w 551652"/>
                <a:gd name="connsiteY12" fmla="*/ 128291 h 581586"/>
                <a:gd name="connsiteX13" fmla="*/ 149673 w 551652"/>
                <a:gd name="connsiteY13" fmla="*/ 239477 h 581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1652" h="581586">
                  <a:moveTo>
                    <a:pt x="538823" y="342110"/>
                  </a:moveTo>
                  <a:lnTo>
                    <a:pt x="149673" y="342110"/>
                  </a:lnTo>
                  <a:cubicBezTo>
                    <a:pt x="166779" y="410532"/>
                    <a:pt x="226648" y="453296"/>
                    <a:pt x="307899" y="453296"/>
                  </a:cubicBezTo>
                  <a:cubicBezTo>
                    <a:pt x="367768" y="453296"/>
                    <a:pt x="419085" y="431914"/>
                    <a:pt x="461848" y="397703"/>
                  </a:cubicBezTo>
                  <a:lnTo>
                    <a:pt x="525994" y="500336"/>
                  </a:lnTo>
                  <a:cubicBezTo>
                    <a:pt x="461848" y="551652"/>
                    <a:pt x="389150" y="581587"/>
                    <a:pt x="303622" y="581587"/>
                  </a:cubicBezTo>
                  <a:cubicBezTo>
                    <a:pt x="128291" y="581587"/>
                    <a:pt x="0" y="453296"/>
                    <a:pt x="0" y="290793"/>
                  </a:cubicBezTo>
                  <a:cubicBezTo>
                    <a:pt x="0" y="128291"/>
                    <a:pt x="128291" y="0"/>
                    <a:pt x="290793" y="0"/>
                  </a:cubicBezTo>
                  <a:cubicBezTo>
                    <a:pt x="444743" y="0"/>
                    <a:pt x="551652" y="115462"/>
                    <a:pt x="551652" y="256582"/>
                  </a:cubicBezTo>
                  <a:cubicBezTo>
                    <a:pt x="551652" y="290793"/>
                    <a:pt x="543099" y="325004"/>
                    <a:pt x="538823" y="342110"/>
                  </a:cubicBezTo>
                  <a:moveTo>
                    <a:pt x="149673" y="239477"/>
                  </a:moveTo>
                  <a:lnTo>
                    <a:pt x="401979" y="239477"/>
                  </a:lnTo>
                  <a:cubicBezTo>
                    <a:pt x="401979" y="171055"/>
                    <a:pt x="346386" y="128291"/>
                    <a:pt x="282241" y="128291"/>
                  </a:cubicBezTo>
                  <a:cubicBezTo>
                    <a:pt x="218095" y="124015"/>
                    <a:pt x="166779" y="166779"/>
                    <a:pt x="149673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フリーフォーム: 図形 13">
              <a:extLst>
                <a:ext uri="{FF2B5EF4-FFF2-40B4-BE49-F238E27FC236}">
                  <a16:creationId xmlns:a16="http://schemas.microsoft.com/office/drawing/2014/main" id="{8BAD0EEF-EAC6-4B93-967E-620DC6179045}"/>
                </a:ext>
              </a:extLst>
            </p:cNvPr>
            <p:cNvSpPr/>
            <p:nvPr/>
          </p:nvSpPr>
          <p:spPr>
            <a:xfrm>
              <a:off x="5022630" y="5071127"/>
              <a:ext cx="585862" cy="769747"/>
            </a:xfrm>
            <a:custGeom>
              <a:avLst/>
              <a:gdLst>
                <a:gd name="connsiteX0" fmla="*/ 585863 w 585862"/>
                <a:gd name="connsiteY0" fmla="*/ 290793 h 769747"/>
                <a:gd name="connsiteX1" fmla="*/ 316452 w 585862"/>
                <a:gd name="connsiteY1" fmla="*/ 581587 h 769747"/>
                <a:gd name="connsiteX2" fmla="*/ 149673 w 585862"/>
                <a:gd name="connsiteY2" fmla="*/ 513165 h 769747"/>
                <a:gd name="connsiteX3" fmla="*/ 149673 w 585862"/>
                <a:gd name="connsiteY3" fmla="*/ 769747 h 769747"/>
                <a:gd name="connsiteX4" fmla="*/ 0 w 585862"/>
                <a:gd name="connsiteY4" fmla="*/ 769747 h 769747"/>
                <a:gd name="connsiteX5" fmla="*/ 0 w 585862"/>
                <a:gd name="connsiteY5" fmla="*/ 12829 h 769747"/>
                <a:gd name="connsiteX6" fmla="*/ 136844 w 585862"/>
                <a:gd name="connsiteY6" fmla="*/ 12829 h 769747"/>
                <a:gd name="connsiteX7" fmla="*/ 136844 w 585862"/>
                <a:gd name="connsiteY7" fmla="*/ 81251 h 769747"/>
                <a:gd name="connsiteX8" fmla="*/ 316452 w 585862"/>
                <a:gd name="connsiteY8" fmla="*/ 0 h 769747"/>
                <a:gd name="connsiteX9" fmla="*/ 585863 w 585862"/>
                <a:gd name="connsiteY9" fmla="*/ 290793 h 769747"/>
                <a:gd name="connsiteX10" fmla="*/ 431914 w 585862"/>
                <a:gd name="connsiteY10" fmla="*/ 295070 h 769747"/>
                <a:gd name="connsiteX11" fmla="*/ 290793 w 585862"/>
                <a:gd name="connsiteY11" fmla="*/ 141120 h 769747"/>
                <a:gd name="connsiteX12" fmla="*/ 149673 w 585862"/>
                <a:gd name="connsiteY12" fmla="*/ 295070 h 769747"/>
                <a:gd name="connsiteX13" fmla="*/ 290793 w 585862"/>
                <a:gd name="connsiteY13" fmla="*/ 449019 h 769747"/>
                <a:gd name="connsiteX14" fmla="*/ 431914 w 585862"/>
                <a:gd name="connsiteY14" fmla="*/ 295070 h 769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5862" h="769747">
                  <a:moveTo>
                    <a:pt x="585863" y="290793"/>
                  </a:moveTo>
                  <a:cubicBezTo>
                    <a:pt x="585863" y="457572"/>
                    <a:pt x="474677" y="581587"/>
                    <a:pt x="316452" y="581587"/>
                  </a:cubicBezTo>
                  <a:cubicBezTo>
                    <a:pt x="248029" y="581587"/>
                    <a:pt x="188160" y="555929"/>
                    <a:pt x="149673" y="513165"/>
                  </a:cubicBezTo>
                  <a:lnTo>
                    <a:pt x="149673" y="769747"/>
                  </a:lnTo>
                  <a:lnTo>
                    <a:pt x="0" y="769747"/>
                  </a:lnTo>
                  <a:lnTo>
                    <a:pt x="0" y="12829"/>
                  </a:lnTo>
                  <a:lnTo>
                    <a:pt x="136844" y="12829"/>
                  </a:lnTo>
                  <a:lnTo>
                    <a:pt x="136844" y="81251"/>
                  </a:lnTo>
                  <a:cubicBezTo>
                    <a:pt x="175331" y="29934"/>
                    <a:pt x="239477" y="0"/>
                    <a:pt x="316452" y="0"/>
                  </a:cubicBezTo>
                  <a:cubicBezTo>
                    <a:pt x="470401" y="4276"/>
                    <a:pt x="585863" y="124015"/>
                    <a:pt x="585863" y="290793"/>
                  </a:cubicBezTo>
                  <a:moveTo>
                    <a:pt x="431914" y="295070"/>
                  </a:moveTo>
                  <a:cubicBezTo>
                    <a:pt x="431914" y="200989"/>
                    <a:pt x="367768" y="141120"/>
                    <a:pt x="290793" y="141120"/>
                  </a:cubicBezTo>
                  <a:cubicBezTo>
                    <a:pt x="222371" y="141120"/>
                    <a:pt x="149673" y="188161"/>
                    <a:pt x="149673" y="295070"/>
                  </a:cubicBezTo>
                  <a:cubicBezTo>
                    <a:pt x="149673" y="401979"/>
                    <a:pt x="218095" y="449019"/>
                    <a:pt x="290793" y="449019"/>
                  </a:cubicBezTo>
                  <a:cubicBezTo>
                    <a:pt x="363492" y="444743"/>
                    <a:pt x="431914" y="389150"/>
                    <a:pt x="431914" y="295070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フリーフォーム: 図形 14">
              <a:extLst>
                <a:ext uri="{FF2B5EF4-FFF2-40B4-BE49-F238E27FC236}">
                  <a16:creationId xmlns:a16="http://schemas.microsoft.com/office/drawing/2014/main" id="{9A8D0561-6E88-4D62-B896-ED18946CA3F8}"/>
                </a:ext>
              </a:extLst>
            </p:cNvPr>
            <p:cNvSpPr/>
            <p:nvPr/>
          </p:nvSpPr>
          <p:spPr>
            <a:xfrm>
              <a:off x="5681192" y="5075403"/>
              <a:ext cx="594415" cy="577310"/>
            </a:xfrm>
            <a:custGeom>
              <a:avLst/>
              <a:gdLst>
                <a:gd name="connsiteX0" fmla="*/ 594415 w 594415"/>
                <a:gd name="connsiteY0" fmla="*/ 286517 h 577310"/>
                <a:gd name="connsiteX1" fmla="*/ 295069 w 594415"/>
                <a:gd name="connsiteY1" fmla="*/ 577311 h 577310"/>
                <a:gd name="connsiteX2" fmla="*/ 0 w 594415"/>
                <a:gd name="connsiteY2" fmla="*/ 286517 h 577310"/>
                <a:gd name="connsiteX3" fmla="*/ 295069 w 594415"/>
                <a:gd name="connsiteY3" fmla="*/ 0 h 577310"/>
                <a:gd name="connsiteX4" fmla="*/ 594415 w 594415"/>
                <a:gd name="connsiteY4" fmla="*/ 286517 h 577310"/>
                <a:gd name="connsiteX5" fmla="*/ 153949 w 594415"/>
                <a:gd name="connsiteY5" fmla="*/ 290794 h 577310"/>
                <a:gd name="connsiteX6" fmla="*/ 295069 w 594415"/>
                <a:gd name="connsiteY6" fmla="*/ 440467 h 577310"/>
                <a:gd name="connsiteX7" fmla="*/ 436190 w 594415"/>
                <a:gd name="connsiteY7" fmla="*/ 290794 h 577310"/>
                <a:gd name="connsiteX8" fmla="*/ 295069 w 594415"/>
                <a:gd name="connsiteY8" fmla="*/ 136844 h 577310"/>
                <a:gd name="connsiteX9" fmla="*/ 153949 w 594415"/>
                <a:gd name="connsiteY9" fmla="*/ 290794 h 577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4415" h="577310">
                  <a:moveTo>
                    <a:pt x="594415" y="286517"/>
                  </a:moveTo>
                  <a:cubicBezTo>
                    <a:pt x="594415" y="449019"/>
                    <a:pt x="461848" y="577311"/>
                    <a:pt x="295069" y="577311"/>
                  </a:cubicBezTo>
                  <a:cubicBezTo>
                    <a:pt x="128291" y="577311"/>
                    <a:pt x="0" y="453296"/>
                    <a:pt x="0" y="286517"/>
                  </a:cubicBezTo>
                  <a:cubicBezTo>
                    <a:pt x="0" y="124015"/>
                    <a:pt x="132567" y="0"/>
                    <a:pt x="295069" y="0"/>
                  </a:cubicBezTo>
                  <a:cubicBezTo>
                    <a:pt x="457572" y="0"/>
                    <a:pt x="594415" y="124015"/>
                    <a:pt x="594415" y="286517"/>
                  </a:cubicBezTo>
                  <a:moveTo>
                    <a:pt x="153949" y="290794"/>
                  </a:moveTo>
                  <a:cubicBezTo>
                    <a:pt x="153949" y="376321"/>
                    <a:pt x="213819" y="440467"/>
                    <a:pt x="295069" y="440467"/>
                  </a:cubicBezTo>
                  <a:cubicBezTo>
                    <a:pt x="376321" y="440467"/>
                    <a:pt x="436190" y="376321"/>
                    <a:pt x="436190" y="290794"/>
                  </a:cubicBezTo>
                  <a:cubicBezTo>
                    <a:pt x="436190" y="205266"/>
                    <a:pt x="376321" y="136844"/>
                    <a:pt x="295069" y="136844"/>
                  </a:cubicBezTo>
                  <a:cubicBezTo>
                    <a:pt x="213819" y="136844"/>
                    <a:pt x="153949" y="200989"/>
                    <a:pt x="153949" y="290794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フリーフォーム: 図形 15">
              <a:extLst>
                <a:ext uri="{FF2B5EF4-FFF2-40B4-BE49-F238E27FC236}">
                  <a16:creationId xmlns:a16="http://schemas.microsoft.com/office/drawing/2014/main" id="{6DAABB10-8E11-470C-BB65-796696BE5475}"/>
                </a:ext>
              </a:extLst>
            </p:cNvPr>
            <p:cNvSpPr/>
            <p:nvPr/>
          </p:nvSpPr>
          <p:spPr>
            <a:xfrm>
              <a:off x="6669033" y="4887243"/>
              <a:ext cx="496059" cy="752641"/>
            </a:xfrm>
            <a:custGeom>
              <a:avLst/>
              <a:gdLst>
                <a:gd name="connsiteX0" fmla="*/ 496059 w 496059"/>
                <a:gd name="connsiteY0" fmla="*/ 141120 h 752641"/>
                <a:gd name="connsiteX1" fmla="*/ 153950 w 496059"/>
                <a:gd name="connsiteY1" fmla="*/ 141120 h 752641"/>
                <a:gd name="connsiteX2" fmla="*/ 153950 w 496059"/>
                <a:gd name="connsiteY2" fmla="*/ 325004 h 752641"/>
                <a:gd name="connsiteX3" fmla="*/ 431914 w 496059"/>
                <a:gd name="connsiteY3" fmla="*/ 325004 h 752641"/>
                <a:gd name="connsiteX4" fmla="*/ 431914 w 496059"/>
                <a:gd name="connsiteY4" fmla="*/ 466125 h 752641"/>
                <a:gd name="connsiteX5" fmla="*/ 153950 w 496059"/>
                <a:gd name="connsiteY5" fmla="*/ 466125 h 752641"/>
                <a:gd name="connsiteX6" fmla="*/ 153950 w 496059"/>
                <a:gd name="connsiteY6" fmla="*/ 752642 h 752641"/>
                <a:gd name="connsiteX7" fmla="*/ 0 w 496059"/>
                <a:gd name="connsiteY7" fmla="*/ 752642 h 752641"/>
                <a:gd name="connsiteX8" fmla="*/ 0 w 496059"/>
                <a:gd name="connsiteY8" fmla="*/ 0 h 752641"/>
                <a:gd name="connsiteX9" fmla="*/ 496059 w 496059"/>
                <a:gd name="connsiteY9" fmla="*/ 0 h 752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6059" h="752641">
                  <a:moveTo>
                    <a:pt x="496059" y="141120"/>
                  </a:moveTo>
                  <a:lnTo>
                    <a:pt x="153950" y="141120"/>
                  </a:lnTo>
                  <a:lnTo>
                    <a:pt x="153950" y="325004"/>
                  </a:lnTo>
                  <a:lnTo>
                    <a:pt x="431914" y="325004"/>
                  </a:lnTo>
                  <a:lnTo>
                    <a:pt x="431914" y="466125"/>
                  </a:lnTo>
                  <a:lnTo>
                    <a:pt x="153950" y="466125"/>
                  </a:lnTo>
                  <a:lnTo>
                    <a:pt x="153950" y="752642"/>
                  </a:lnTo>
                  <a:lnTo>
                    <a:pt x="0" y="752642"/>
                  </a:lnTo>
                  <a:lnTo>
                    <a:pt x="0" y="0"/>
                  </a:lnTo>
                  <a:lnTo>
                    <a:pt x="496059" y="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フリーフォーム: 図形 16">
              <a:extLst>
                <a:ext uri="{FF2B5EF4-FFF2-40B4-BE49-F238E27FC236}">
                  <a16:creationId xmlns:a16="http://schemas.microsoft.com/office/drawing/2014/main" id="{98A30F74-AAB9-4155-9672-548C4A3B4F25}"/>
                </a:ext>
              </a:extLst>
            </p:cNvPr>
            <p:cNvSpPr/>
            <p:nvPr/>
          </p:nvSpPr>
          <p:spPr>
            <a:xfrm>
              <a:off x="7220685" y="5066851"/>
              <a:ext cx="346385" cy="573033"/>
            </a:xfrm>
            <a:custGeom>
              <a:avLst/>
              <a:gdLst>
                <a:gd name="connsiteX0" fmla="*/ 346386 w 346385"/>
                <a:gd name="connsiteY0" fmla="*/ 8553 h 573033"/>
                <a:gd name="connsiteX1" fmla="*/ 346386 w 346385"/>
                <a:gd name="connsiteY1" fmla="*/ 145396 h 573033"/>
                <a:gd name="connsiteX2" fmla="*/ 303622 w 346385"/>
                <a:gd name="connsiteY2" fmla="*/ 145396 h 573033"/>
                <a:gd name="connsiteX3" fmla="*/ 153949 w 346385"/>
                <a:gd name="connsiteY3" fmla="*/ 290793 h 573033"/>
                <a:gd name="connsiteX4" fmla="*/ 153949 w 346385"/>
                <a:gd name="connsiteY4" fmla="*/ 573034 h 573033"/>
                <a:gd name="connsiteX5" fmla="*/ 0 w 346385"/>
                <a:gd name="connsiteY5" fmla="*/ 573034 h 573033"/>
                <a:gd name="connsiteX6" fmla="*/ 0 w 346385"/>
                <a:gd name="connsiteY6" fmla="*/ 8553 h 573033"/>
                <a:gd name="connsiteX7" fmla="*/ 141120 w 346385"/>
                <a:gd name="connsiteY7" fmla="*/ 8553 h 573033"/>
                <a:gd name="connsiteX8" fmla="*/ 141120 w 346385"/>
                <a:gd name="connsiteY8" fmla="*/ 76975 h 573033"/>
                <a:gd name="connsiteX9" fmla="*/ 295069 w 346385"/>
                <a:gd name="connsiteY9" fmla="*/ 0 h 573033"/>
                <a:gd name="connsiteX10" fmla="*/ 346386 w 346385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5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2" y="145396"/>
                  </a:lnTo>
                  <a:cubicBezTo>
                    <a:pt x="213819" y="145396"/>
                    <a:pt x="153949" y="192437"/>
                    <a:pt x="153949" y="290793"/>
                  </a:cubicBezTo>
                  <a:lnTo>
                    <a:pt x="153949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69" y="0"/>
                  </a:cubicBezTo>
                  <a:cubicBezTo>
                    <a:pt x="316451" y="0"/>
                    <a:pt x="333557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フリーフォーム: 図形 17">
              <a:extLst>
                <a:ext uri="{FF2B5EF4-FFF2-40B4-BE49-F238E27FC236}">
                  <a16:creationId xmlns:a16="http://schemas.microsoft.com/office/drawing/2014/main" id="{31F77E4E-0439-45A1-92CA-7F889D48FA1E}"/>
                </a:ext>
              </a:extLst>
            </p:cNvPr>
            <p:cNvSpPr/>
            <p:nvPr/>
          </p:nvSpPr>
          <p:spPr>
            <a:xfrm>
              <a:off x="7609835" y="5062574"/>
              <a:ext cx="561370" cy="590139"/>
            </a:xfrm>
            <a:custGeom>
              <a:avLst/>
              <a:gdLst>
                <a:gd name="connsiteX0" fmla="*/ 551652 w 561370"/>
                <a:gd name="connsiteY0" fmla="*/ 346387 h 590139"/>
                <a:gd name="connsiteX1" fmla="*/ 153950 w 561370"/>
                <a:gd name="connsiteY1" fmla="*/ 346387 h 590139"/>
                <a:gd name="connsiteX2" fmla="*/ 312175 w 561370"/>
                <a:gd name="connsiteY2" fmla="*/ 457572 h 590139"/>
                <a:gd name="connsiteX3" fmla="*/ 470401 w 561370"/>
                <a:gd name="connsiteY3" fmla="*/ 401979 h 590139"/>
                <a:gd name="connsiteX4" fmla="*/ 534547 w 561370"/>
                <a:gd name="connsiteY4" fmla="*/ 504612 h 590139"/>
                <a:gd name="connsiteX5" fmla="*/ 307899 w 561370"/>
                <a:gd name="connsiteY5" fmla="*/ 590140 h 590139"/>
                <a:gd name="connsiteX6" fmla="*/ 0 w 561370"/>
                <a:gd name="connsiteY6" fmla="*/ 295070 h 590139"/>
                <a:gd name="connsiteX7" fmla="*/ 295070 w 561370"/>
                <a:gd name="connsiteY7" fmla="*/ 0 h 590139"/>
                <a:gd name="connsiteX8" fmla="*/ 560205 w 561370"/>
                <a:gd name="connsiteY8" fmla="*/ 260859 h 590139"/>
                <a:gd name="connsiteX9" fmla="*/ 551652 w 561370"/>
                <a:gd name="connsiteY9" fmla="*/ 346387 h 590139"/>
                <a:gd name="connsiteX10" fmla="*/ 158226 w 561370"/>
                <a:gd name="connsiteY10" fmla="*/ 239477 h 590139"/>
                <a:gd name="connsiteX11" fmla="*/ 414809 w 561370"/>
                <a:gd name="connsiteY11" fmla="*/ 239477 h 590139"/>
                <a:gd name="connsiteX12" fmla="*/ 295070 w 561370"/>
                <a:gd name="connsiteY12" fmla="*/ 124015 h 590139"/>
                <a:gd name="connsiteX13" fmla="*/ 158226 w 561370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370" h="590139">
                  <a:moveTo>
                    <a:pt x="551652" y="346387"/>
                  </a:moveTo>
                  <a:lnTo>
                    <a:pt x="153950" y="346387"/>
                  </a:lnTo>
                  <a:cubicBezTo>
                    <a:pt x="175332" y="419085"/>
                    <a:pt x="230924" y="457572"/>
                    <a:pt x="312175" y="457572"/>
                  </a:cubicBezTo>
                  <a:cubicBezTo>
                    <a:pt x="372045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70" y="0"/>
                  </a:cubicBezTo>
                  <a:cubicBezTo>
                    <a:pt x="453296" y="0"/>
                    <a:pt x="560205" y="115462"/>
                    <a:pt x="560205" y="260859"/>
                  </a:cubicBezTo>
                  <a:cubicBezTo>
                    <a:pt x="564482" y="295070"/>
                    <a:pt x="555928" y="325005"/>
                    <a:pt x="551652" y="346387"/>
                  </a:cubicBezTo>
                  <a:moveTo>
                    <a:pt x="158226" y="239477"/>
                  </a:moveTo>
                  <a:lnTo>
                    <a:pt x="414809" y="239477"/>
                  </a:lnTo>
                  <a:cubicBezTo>
                    <a:pt x="414809" y="166779"/>
                    <a:pt x="359216" y="124015"/>
                    <a:pt x="295070" y="124015"/>
                  </a:cubicBezTo>
                  <a:cubicBezTo>
                    <a:pt x="230924" y="124015"/>
                    <a:pt x="175332" y="166779"/>
                    <a:pt x="158226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フリーフォーム: 図形 18">
              <a:extLst>
                <a:ext uri="{FF2B5EF4-FFF2-40B4-BE49-F238E27FC236}">
                  <a16:creationId xmlns:a16="http://schemas.microsoft.com/office/drawing/2014/main" id="{B1047C92-C449-4E88-ACBE-0E9B8E4CA64A}"/>
                </a:ext>
              </a:extLst>
            </p:cNvPr>
            <p:cNvSpPr/>
            <p:nvPr/>
          </p:nvSpPr>
          <p:spPr>
            <a:xfrm>
              <a:off x="8247015" y="5062574"/>
              <a:ext cx="560204" cy="590139"/>
            </a:xfrm>
            <a:custGeom>
              <a:avLst/>
              <a:gdLst>
                <a:gd name="connsiteX0" fmla="*/ 551652 w 560204"/>
                <a:gd name="connsiteY0" fmla="*/ 346387 h 590139"/>
                <a:gd name="connsiteX1" fmla="*/ 153949 w 560204"/>
                <a:gd name="connsiteY1" fmla="*/ 346387 h 590139"/>
                <a:gd name="connsiteX2" fmla="*/ 312175 w 560204"/>
                <a:gd name="connsiteY2" fmla="*/ 457572 h 590139"/>
                <a:gd name="connsiteX3" fmla="*/ 470401 w 560204"/>
                <a:gd name="connsiteY3" fmla="*/ 401979 h 590139"/>
                <a:gd name="connsiteX4" fmla="*/ 534547 w 560204"/>
                <a:gd name="connsiteY4" fmla="*/ 504612 h 590139"/>
                <a:gd name="connsiteX5" fmla="*/ 307899 w 560204"/>
                <a:gd name="connsiteY5" fmla="*/ 590140 h 590139"/>
                <a:gd name="connsiteX6" fmla="*/ 0 w 560204"/>
                <a:gd name="connsiteY6" fmla="*/ 295070 h 590139"/>
                <a:gd name="connsiteX7" fmla="*/ 295069 w 560204"/>
                <a:gd name="connsiteY7" fmla="*/ 0 h 590139"/>
                <a:gd name="connsiteX8" fmla="*/ 560204 w 560204"/>
                <a:gd name="connsiteY8" fmla="*/ 260859 h 590139"/>
                <a:gd name="connsiteX9" fmla="*/ 551652 w 560204"/>
                <a:gd name="connsiteY9" fmla="*/ 346387 h 590139"/>
                <a:gd name="connsiteX10" fmla="*/ 153949 w 560204"/>
                <a:gd name="connsiteY10" fmla="*/ 239477 h 590139"/>
                <a:gd name="connsiteX11" fmla="*/ 410531 w 560204"/>
                <a:gd name="connsiteY11" fmla="*/ 239477 h 590139"/>
                <a:gd name="connsiteX12" fmla="*/ 290793 w 560204"/>
                <a:gd name="connsiteY12" fmla="*/ 124015 h 590139"/>
                <a:gd name="connsiteX13" fmla="*/ 153949 w 560204"/>
                <a:gd name="connsiteY13" fmla="*/ 239477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0204" h="590139">
                  <a:moveTo>
                    <a:pt x="551652" y="346387"/>
                  </a:moveTo>
                  <a:lnTo>
                    <a:pt x="153949" y="346387"/>
                  </a:lnTo>
                  <a:cubicBezTo>
                    <a:pt x="175331" y="419085"/>
                    <a:pt x="230924" y="457572"/>
                    <a:pt x="312175" y="457572"/>
                  </a:cubicBezTo>
                  <a:cubicBezTo>
                    <a:pt x="372044" y="457572"/>
                    <a:pt x="423361" y="436190"/>
                    <a:pt x="470401" y="401979"/>
                  </a:cubicBezTo>
                  <a:lnTo>
                    <a:pt x="534547" y="504612"/>
                  </a:lnTo>
                  <a:cubicBezTo>
                    <a:pt x="470401" y="560205"/>
                    <a:pt x="397703" y="590140"/>
                    <a:pt x="307899" y="590140"/>
                  </a:cubicBezTo>
                  <a:cubicBezTo>
                    <a:pt x="128291" y="590140"/>
                    <a:pt x="0" y="461849"/>
                    <a:pt x="0" y="295070"/>
                  </a:cubicBezTo>
                  <a:cubicBezTo>
                    <a:pt x="0" y="128291"/>
                    <a:pt x="128291" y="0"/>
                    <a:pt x="295069" y="0"/>
                  </a:cubicBezTo>
                  <a:cubicBezTo>
                    <a:pt x="453295" y="0"/>
                    <a:pt x="560204" y="115462"/>
                    <a:pt x="560204" y="260859"/>
                  </a:cubicBezTo>
                  <a:cubicBezTo>
                    <a:pt x="560204" y="295070"/>
                    <a:pt x="555928" y="325005"/>
                    <a:pt x="551652" y="346387"/>
                  </a:cubicBezTo>
                  <a:moveTo>
                    <a:pt x="153949" y="239477"/>
                  </a:moveTo>
                  <a:lnTo>
                    <a:pt x="410531" y="239477"/>
                  </a:lnTo>
                  <a:cubicBezTo>
                    <a:pt x="410531" y="166779"/>
                    <a:pt x="354939" y="124015"/>
                    <a:pt x="290793" y="124015"/>
                  </a:cubicBezTo>
                  <a:cubicBezTo>
                    <a:pt x="226648" y="124015"/>
                    <a:pt x="171055" y="166779"/>
                    <a:pt x="153949" y="239477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フリーフォーム: 図形 19">
              <a:extLst>
                <a:ext uri="{FF2B5EF4-FFF2-40B4-BE49-F238E27FC236}">
                  <a16:creationId xmlns:a16="http://schemas.microsoft.com/office/drawing/2014/main" id="{38983A95-0606-47DC-BEFC-BF5C6F9109AA}"/>
                </a:ext>
              </a:extLst>
            </p:cNvPr>
            <p:cNvSpPr/>
            <p:nvPr/>
          </p:nvSpPr>
          <p:spPr>
            <a:xfrm>
              <a:off x="8926958" y="4887243"/>
              <a:ext cx="654285" cy="748365"/>
            </a:xfrm>
            <a:custGeom>
              <a:avLst/>
              <a:gdLst>
                <a:gd name="connsiteX0" fmla="*/ 654285 w 654285"/>
                <a:gd name="connsiteY0" fmla="*/ 372045 h 748365"/>
                <a:gd name="connsiteX1" fmla="*/ 243753 w 654285"/>
                <a:gd name="connsiteY1" fmla="*/ 748365 h 748365"/>
                <a:gd name="connsiteX2" fmla="*/ 0 w 654285"/>
                <a:gd name="connsiteY2" fmla="*/ 748365 h 748365"/>
                <a:gd name="connsiteX3" fmla="*/ 0 w 654285"/>
                <a:gd name="connsiteY3" fmla="*/ 0 h 748365"/>
                <a:gd name="connsiteX4" fmla="*/ 243753 w 654285"/>
                <a:gd name="connsiteY4" fmla="*/ 0 h 748365"/>
                <a:gd name="connsiteX5" fmla="*/ 654285 w 654285"/>
                <a:gd name="connsiteY5" fmla="*/ 372045 h 748365"/>
                <a:gd name="connsiteX6" fmla="*/ 153950 w 654285"/>
                <a:gd name="connsiteY6" fmla="*/ 141120 h 748365"/>
                <a:gd name="connsiteX7" fmla="*/ 153950 w 654285"/>
                <a:gd name="connsiteY7" fmla="*/ 615798 h 748365"/>
                <a:gd name="connsiteX8" fmla="*/ 243753 w 654285"/>
                <a:gd name="connsiteY8" fmla="*/ 615798 h 748365"/>
                <a:gd name="connsiteX9" fmla="*/ 496059 w 654285"/>
                <a:gd name="connsiteY9" fmla="*/ 376321 h 748365"/>
                <a:gd name="connsiteX10" fmla="*/ 243753 w 654285"/>
                <a:gd name="connsiteY10" fmla="*/ 141120 h 748365"/>
                <a:gd name="connsiteX11" fmla="*/ 153950 w 654285"/>
                <a:gd name="connsiteY11" fmla="*/ 141120 h 74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54285" h="748365">
                  <a:moveTo>
                    <a:pt x="654285" y="372045"/>
                  </a:moveTo>
                  <a:cubicBezTo>
                    <a:pt x="654285" y="594416"/>
                    <a:pt x="487507" y="748365"/>
                    <a:pt x="243753" y="748365"/>
                  </a:cubicBezTo>
                  <a:lnTo>
                    <a:pt x="0" y="748365"/>
                  </a:lnTo>
                  <a:lnTo>
                    <a:pt x="0" y="0"/>
                  </a:lnTo>
                  <a:lnTo>
                    <a:pt x="243753" y="0"/>
                  </a:lnTo>
                  <a:cubicBezTo>
                    <a:pt x="487507" y="0"/>
                    <a:pt x="654285" y="149673"/>
                    <a:pt x="654285" y="372045"/>
                  </a:cubicBezTo>
                  <a:moveTo>
                    <a:pt x="153950" y="141120"/>
                  </a:moveTo>
                  <a:lnTo>
                    <a:pt x="153950" y="615798"/>
                  </a:lnTo>
                  <a:lnTo>
                    <a:pt x="243753" y="615798"/>
                  </a:lnTo>
                  <a:cubicBezTo>
                    <a:pt x="393426" y="615798"/>
                    <a:pt x="496059" y="521718"/>
                    <a:pt x="496059" y="376321"/>
                  </a:cubicBezTo>
                  <a:cubicBezTo>
                    <a:pt x="496059" y="226648"/>
                    <a:pt x="393426" y="141120"/>
                    <a:pt x="243753" y="141120"/>
                  </a:cubicBezTo>
                  <a:lnTo>
                    <a:pt x="153950" y="141120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フリーフォーム: 図形 20">
              <a:extLst>
                <a:ext uri="{FF2B5EF4-FFF2-40B4-BE49-F238E27FC236}">
                  <a16:creationId xmlns:a16="http://schemas.microsoft.com/office/drawing/2014/main" id="{A311F7E0-4C08-45F8-8A3A-EAB027F8012A}"/>
                </a:ext>
              </a:extLst>
            </p:cNvPr>
            <p:cNvSpPr/>
            <p:nvPr/>
          </p:nvSpPr>
          <p:spPr>
            <a:xfrm>
              <a:off x="9696705" y="5066851"/>
              <a:ext cx="346386" cy="573033"/>
            </a:xfrm>
            <a:custGeom>
              <a:avLst/>
              <a:gdLst>
                <a:gd name="connsiteX0" fmla="*/ 346386 w 346386"/>
                <a:gd name="connsiteY0" fmla="*/ 8553 h 573033"/>
                <a:gd name="connsiteX1" fmla="*/ 346386 w 346386"/>
                <a:gd name="connsiteY1" fmla="*/ 145396 h 573033"/>
                <a:gd name="connsiteX2" fmla="*/ 303623 w 346386"/>
                <a:gd name="connsiteY2" fmla="*/ 145396 h 573033"/>
                <a:gd name="connsiteX3" fmla="*/ 153950 w 346386"/>
                <a:gd name="connsiteY3" fmla="*/ 290793 h 573033"/>
                <a:gd name="connsiteX4" fmla="*/ 153950 w 346386"/>
                <a:gd name="connsiteY4" fmla="*/ 573034 h 573033"/>
                <a:gd name="connsiteX5" fmla="*/ 0 w 346386"/>
                <a:gd name="connsiteY5" fmla="*/ 573034 h 573033"/>
                <a:gd name="connsiteX6" fmla="*/ 0 w 346386"/>
                <a:gd name="connsiteY6" fmla="*/ 8553 h 573033"/>
                <a:gd name="connsiteX7" fmla="*/ 141120 w 346386"/>
                <a:gd name="connsiteY7" fmla="*/ 8553 h 573033"/>
                <a:gd name="connsiteX8" fmla="*/ 141120 w 346386"/>
                <a:gd name="connsiteY8" fmla="*/ 76975 h 573033"/>
                <a:gd name="connsiteX9" fmla="*/ 295070 w 346386"/>
                <a:gd name="connsiteY9" fmla="*/ 0 h 573033"/>
                <a:gd name="connsiteX10" fmla="*/ 346386 w 346386"/>
                <a:gd name="connsiteY10" fmla="*/ 8553 h 57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6386" h="573033">
                  <a:moveTo>
                    <a:pt x="346386" y="8553"/>
                  </a:moveTo>
                  <a:lnTo>
                    <a:pt x="346386" y="145396"/>
                  </a:lnTo>
                  <a:lnTo>
                    <a:pt x="303623" y="145396"/>
                  </a:lnTo>
                  <a:cubicBezTo>
                    <a:pt x="213819" y="145396"/>
                    <a:pt x="153950" y="192437"/>
                    <a:pt x="153950" y="290793"/>
                  </a:cubicBezTo>
                  <a:lnTo>
                    <a:pt x="153950" y="573034"/>
                  </a:lnTo>
                  <a:lnTo>
                    <a:pt x="0" y="573034"/>
                  </a:lnTo>
                  <a:lnTo>
                    <a:pt x="0" y="8553"/>
                  </a:lnTo>
                  <a:lnTo>
                    <a:pt x="141120" y="8553"/>
                  </a:lnTo>
                  <a:lnTo>
                    <a:pt x="141120" y="76975"/>
                  </a:lnTo>
                  <a:cubicBezTo>
                    <a:pt x="179608" y="29934"/>
                    <a:pt x="235200" y="0"/>
                    <a:pt x="295070" y="0"/>
                  </a:cubicBezTo>
                  <a:cubicBezTo>
                    <a:pt x="316452" y="0"/>
                    <a:pt x="329281" y="4276"/>
                    <a:pt x="346386" y="8553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フリーフォーム: 図形 21">
              <a:extLst>
                <a:ext uri="{FF2B5EF4-FFF2-40B4-BE49-F238E27FC236}">
                  <a16:creationId xmlns:a16="http://schemas.microsoft.com/office/drawing/2014/main" id="{0DE4E92A-CAE1-4ADE-8402-F02570CDC2DF}"/>
                </a:ext>
              </a:extLst>
            </p:cNvPr>
            <p:cNvSpPr/>
            <p:nvPr/>
          </p:nvSpPr>
          <p:spPr>
            <a:xfrm>
              <a:off x="10094407" y="5062574"/>
              <a:ext cx="504612" cy="585863"/>
            </a:xfrm>
            <a:custGeom>
              <a:avLst/>
              <a:gdLst>
                <a:gd name="connsiteX0" fmla="*/ 504612 w 504612"/>
                <a:gd name="connsiteY0" fmla="*/ 239477 h 585863"/>
                <a:gd name="connsiteX1" fmla="*/ 504612 w 504612"/>
                <a:gd name="connsiteY1" fmla="*/ 573034 h 585863"/>
                <a:gd name="connsiteX2" fmla="*/ 363492 w 504612"/>
                <a:gd name="connsiteY2" fmla="*/ 573034 h 585863"/>
                <a:gd name="connsiteX3" fmla="*/ 363492 w 504612"/>
                <a:gd name="connsiteY3" fmla="*/ 517442 h 585863"/>
                <a:gd name="connsiteX4" fmla="*/ 192437 w 504612"/>
                <a:gd name="connsiteY4" fmla="*/ 585863 h 585863"/>
                <a:gd name="connsiteX5" fmla="*/ 0 w 504612"/>
                <a:gd name="connsiteY5" fmla="*/ 419085 h 585863"/>
                <a:gd name="connsiteX6" fmla="*/ 213819 w 504612"/>
                <a:gd name="connsiteY6" fmla="*/ 256582 h 585863"/>
                <a:gd name="connsiteX7" fmla="*/ 354939 w 504612"/>
                <a:gd name="connsiteY7" fmla="*/ 256582 h 585863"/>
                <a:gd name="connsiteX8" fmla="*/ 354939 w 504612"/>
                <a:gd name="connsiteY8" fmla="*/ 230924 h 585863"/>
                <a:gd name="connsiteX9" fmla="*/ 252306 w 504612"/>
                <a:gd name="connsiteY9" fmla="*/ 132568 h 585863"/>
                <a:gd name="connsiteX10" fmla="*/ 102633 w 504612"/>
                <a:gd name="connsiteY10" fmla="*/ 209542 h 585863"/>
                <a:gd name="connsiteX11" fmla="*/ 21382 w 504612"/>
                <a:gd name="connsiteY11" fmla="*/ 115462 h 585863"/>
                <a:gd name="connsiteX12" fmla="*/ 265135 w 504612"/>
                <a:gd name="connsiteY12" fmla="*/ 0 h 585863"/>
                <a:gd name="connsiteX13" fmla="*/ 504612 w 504612"/>
                <a:gd name="connsiteY13" fmla="*/ 239477 h 585863"/>
                <a:gd name="connsiteX14" fmla="*/ 350662 w 504612"/>
                <a:gd name="connsiteY14" fmla="*/ 363492 h 585863"/>
                <a:gd name="connsiteX15" fmla="*/ 350662 w 504612"/>
                <a:gd name="connsiteY15" fmla="*/ 354939 h 585863"/>
                <a:gd name="connsiteX16" fmla="*/ 230924 w 504612"/>
                <a:gd name="connsiteY16" fmla="*/ 354939 h 585863"/>
                <a:gd name="connsiteX17" fmla="*/ 153950 w 504612"/>
                <a:gd name="connsiteY17" fmla="*/ 410532 h 585863"/>
                <a:gd name="connsiteX18" fmla="*/ 235200 w 504612"/>
                <a:gd name="connsiteY18" fmla="*/ 470401 h 585863"/>
                <a:gd name="connsiteX19" fmla="*/ 350662 w 504612"/>
                <a:gd name="connsiteY19" fmla="*/ 363492 h 585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4612" h="585863">
                  <a:moveTo>
                    <a:pt x="504612" y="239477"/>
                  </a:moveTo>
                  <a:lnTo>
                    <a:pt x="504612" y="573034"/>
                  </a:lnTo>
                  <a:lnTo>
                    <a:pt x="363492" y="573034"/>
                  </a:lnTo>
                  <a:lnTo>
                    <a:pt x="363492" y="517442"/>
                  </a:lnTo>
                  <a:cubicBezTo>
                    <a:pt x="325005" y="560205"/>
                    <a:pt x="265135" y="585863"/>
                    <a:pt x="192437" y="585863"/>
                  </a:cubicBezTo>
                  <a:cubicBezTo>
                    <a:pt x="68422" y="585863"/>
                    <a:pt x="0" y="513165"/>
                    <a:pt x="0" y="419085"/>
                  </a:cubicBezTo>
                  <a:cubicBezTo>
                    <a:pt x="0" y="316452"/>
                    <a:pt x="81251" y="256582"/>
                    <a:pt x="213819" y="256582"/>
                  </a:cubicBezTo>
                  <a:lnTo>
                    <a:pt x="354939" y="256582"/>
                  </a:lnTo>
                  <a:lnTo>
                    <a:pt x="354939" y="230924"/>
                  </a:lnTo>
                  <a:cubicBezTo>
                    <a:pt x="354939" y="171055"/>
                    <a:pt x="320728" y="132568"/>
                    <a:pt x="252306" y="132568"/>
                  </a:cubicBezTo>
                  <a:cubicBezTo>
                    <a:pt x="192437" y="132568"/>
                    <a:pt x="149673" y="162502"/>
                    <a:pt x="102633" y="209542"/>
                  </a:cubicBezTo>
                  <a:lnTo>
                    <a:pt x="21382" y="115462"/>
                  </a:lnTo>
                  <a:cubicBezTo>
                    <a:pt x="85527" y="38487"/>
                    <a:pt x="166778" y="0"/>
                    <a:pt x="265135" y="0"/>
                  </a:cubicBezTo>
                  <a:cubicBezTo>
                    <a:pt x="406255" y="0"/>
                    <a:pt x="504612" y="81251"/>
                    <a:pt x="504612" y="239477"/>
                  </a:cubicBezTo>
                  <a:moveTo>
                    <a:pt x="350662" y="363492"/>
                  </a:moveTo>
                  <a:lnTo>
                    <a:pt x="350662" y="354939"/>
                  </a:lnTo>
                  <a:lnTo>
                    <a:pt x="230924" y="354939"/>
                  </a:lnTo>
                  <a:cubicBezTo>
                    <a:pt x="179608" y="354939"/>
                    <a:pt x="153950" y="376321"/>
                    <a:pt x="153950" y="410532"/>
                  </a:cubicBezTo>
                  <a:cubicBezTo>
                    <a:pt x="153950" y="449019"/>
                    <a:pt x="188160" y="470401"/>
                    <a:pt x="235200" y="470401"/>
                  </a:cubicBezTo>
                  <a:cubicBezTo>
                    <a:pt x="295069" y="478954"/>
                    <a:pt x="350662" y="431914"/>
                    <a:pt x="350662" y="363492"/>
                  </a:cubicBezTo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フリーフォーム: 図形 22">
              <a:extLst>
                <a:ext uri="{FF2B5EF4-FFF2-40B4-BE49-F238E27FC236}">
                  <a16:creationId xmlns:a16="http://schemas.microsoft.com/office/drawing/2014/main" id="{9359FA74-49AE-48B1-B6A5-AE176DC578C8}"/>
                </a:ext>
              </a:extLst>
            </p:cNvPr>
            <p:cNvSpPr/>
            <p:nvPr/>
          </p:nvSpPr>
          <p:spPr>
            <a:xfrm>
              <a:off x="10637506" y="5062574"/>
              <a:ext cx="945077" cy="590139"/>
            </a:xfrm>
            <a:custGeom>
              <a:avLst/>
              <a:gdLst>
                <a:gd name="connsiteX0" fmla="*/ 945078 w 945077"/>
                <a:gd name="connsiteY0" fmla="*/ 12829 h 590139"/>
                <a:gd name="connsiteX1" fmla="*/ 684220 w 945077"/>
                <a:gd name="connsiteY1" fmla="*/ 590140 h 590139"/>
                <a:gd name="connsiteX2" fmla="*/ 637180 w 945077"/>
                <a:gd name="connsiteY2" fmla="*/ 590140 h 590139"/>
                <a:gd name="connsiteX3" fmla="*/ 470401 w 945077"/>
                <a:gd name="connsiteY3" fmla="*/ 260859 h 590139"/>
                <a:gd name="connsiteX4" fmla="*/ 312175 w 945077"/>
                <a:gd name="connsiteY4" fmla="*/ 590140 h 590139"/>
                <a:gd name="connsiteX5" fmla="*/ 260859 w 945077"/>
                <a:gd name="connsiteY5" fmla="*/ 590140 h 590139"/>
                <a:gd name="connsiteX6" fmla="*/ 0 w 945077"/>
                <a:gd name="connsiteY6" fmla="*/ 12829 h 590139"/>
                <a:gd name="connsiteX7" fmla="*/ 162502 w 945077"/>
                <a:gd name="connsiteY7" fmla="*/ 12829 h 590139"/>
                <a:gd name="connsiteX8" fmla="*/ 295070 w 945077"/>
                <a:gd name="connsiteY8" fmla="*/ 333557 h 590139"/>
                <a:gd name="connsiteX9" fmla="*/ 449019 w 945077"/>
                <a:gd name="connsiteY9" fmla="*/ 0 h 590139"/>
                <a:gd name="connsiteX10" fmla="*/ 500335 w 945077"/>
                <a:gd name="connsiteY10" fmla="*/ 0 h 590139"/>
                <a:gd name="connsiteX11" fmla="*/ 654285 w 945077"/>
                <a:gd name="connsiteY11" fmla="*/ 325005 h 590139"/>
                <a:gd name="connsiteX12" fmla="*/ 786853 w 945077"/>
                <a:gd name="connsiteY12" fmla="*/ 12829 h 59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5077" h="590139">
                  <a:moveTo>
                    <a:pt x="945078" y="12829"/>
                  </a:moveTo>
                  <a:lnTo>
                    <a:pt x="684220" y="590140"/>
                  </a:lnTo>
                  <a:lnTo>
                    <a:pt x="637180" y="590140"/>
                  </a:lnTo>
                  <a:lnTo>
                    <a:pt x="470401" y="260859"/>
                  </a:lnTo>
                  <a:lnTo>
                    <a:pt x="312175" y="590140"/>
                  </a:lnTo>
                  <a:lnTo>
                    <a:pt x="260859" y="590140"/>
                  </a:lnTo>
                  <a:lnTo>
                    <a:pt x="0" y="12829"/>
                  </a:lnTo>
                  <a:lnTo>
                    <a:pt x="162502" y="12829"/>
                  </a:lnTo>
                  <a:lnTo>
                    <a:pt x="295070" y="333557"/>
                  </a:lnTo>
                  <a:lnTo>
                    <a:pt x="449019" y="0"/>
                  </a:lnTo>
                  <a:lnTo>
                    <a:pt x="500335" y="0"/>
                  </a:lnTo>
                  <a:lnTo>
                    <a:pt x="654285" y="325005"/>
                  </a:lnTo>
                  <a:lnTo>
                    <a:pt x="786853" y="12829"/>
                  </a:lnTo>
                  <a:close/>
                </a:path>
              </a:pathLst>
            </a:custGeom>
            <a:solidFill>
              <a:srgbClr val="4C4948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フリーフォーム: 図形 24">
              <a:extLst>
                <a:ext uri="{FF2B5EF4-FFF2-40B4-BE49-F238E27FC236}">
                  <a16:creationId xmlns:a16="http://schemas.microsoft.com/office/drawing/2014/main" id="{5C193A1A-DF71-4DA4-99D0-6C4204003E0C}"/>
                </a:ext>
              </a:extLst>
            </p:cNvPr>
            <p:cNvSpPr/>
            <p:nvPr/>
          </p:nvSpPr>
          <p:spPr>
            <a:xfrm>
              <a:off x="600862" y="4369802"/>
              <a:ext cx="1838839" cy="1838840"/>
            </a:xfrm>
            <a:custGeom>
              <a:avLst/>
              <a:gdLst>
                <a:gd name="connsiteX0" fmla="*/ 1325675 w 1838839"/>
                <a:gd name="connsiteY0" fmla="*/ 1838841 h 1838840"/>
                <a:gd name="connsiteX1" fmla="*/ 513165 w 1838839"/>
                <a:gd name="connsiteY1" fmla="*/ 1838841 h 1838840"/>
                <a:gd name="connsiteX2" fmla="*/ 0 w 1838839"/>
                <a:gd name="connsiteY2" fmla="*/ 1325676 h 1838840"/>
                <a:gd name="connsiteX3" fmla="*/ 0 w 1838839"/>
                <a:gd name="connsiteY3" fmla="*/ 513165 h 1838840"/>
                <a:gd name="connsiteX4" fmla="*/ 513165 w 1838839"/>
                <a:gd name="connsiteY4" fmla="*/ 0 h 1838840"/>
                <a:gd name="connsiteX5" fmla="*/ 1325675 w 1838839"/>
                <a:gd name="connsiteY5" fmla="*/ 0 h 1838840"/>
                <a:gd name="connsiteX6" fmla="*/ 1838840 w 1838839"/>
                <a:gd name="connsiteY6" fmla="*/ 513165 h 1838840"/>
                <a:gd name="connsiteX7" fmla="*/ 1838840 w 1838839"/>
                <a:gd name="connsiteY7" fmla="*/ 1325676 h 1838840"/>
                <a:gd name="connsiteX8" fmla="*/ 1325675 w 1838839"/>
                <a:gd name="connsiteY8" fmla="*/ 1838841 h 1838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8839" h="1838840">
                  <a:moveTo>
                    <a:pt x="1325675" y="1838841"/>
                  </a:moveTo>
                  <a:lnTo>
                    <a:pt x="513165" y="1838841"/>
                  </a:lnTo>
                  <a:cubicBezTo>
                    <a:pt x="230924" y="1838841"/>
                    <a:pt x="0" y="1607917"/>
                    <a:pt x="0" y="1325676"/>
                  </a:cubicBezTo>
                  <a:lnTo>
                    <a:pt x="0" y="513165"/>
                  </a:lnTo>
                  <a:cubicBezTo>
                    <a:pt x="0" y="230924"/>
                    <a:pt x="230924" y="0"/>
                    <a:pt x="513165" y="0"/>
                  </a:cubicBezTo>
                  <a:lnTo>
                    <a:pt x="1325675" y="0"/>
                  </a:lnTo>
                  <a:cubicBezTo>
                    <a:pt x="1607916" y="0"/>
                    <a:pt x="1838840" y="230924"/>
                    <a:pt x="1838840" y="513165"/>
                  </a:cubicBezTo>
                  <a:lnTo>
                    <a:pt x="1838840" y="1325676"/>
                  </a:lnTo>
                  <a:cubicBezTo>
                    <a:pt x="1838840" y="1607917"/>
                    <a:pt x="1607916" y="1838841"/>
                    <a:pt x="1325675" y="1838841"/>
                  </a:cubicBezTo>
                </a:path>
              </a:pathLst>
            </a:custGeom>
            <a:solidFill>
              <a:srgbClr val="134186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フリーフォーム: 図形 25">
              <a:extLst>
                <a:ext uri="{FF2B5EF4-FFF2-40B4-BE49-F238E27FC236}">
                  <a16:creationId xmlns:a16="http://schemas.microsoft.com/office/drawing/2014/main" id="{99C9FC85-D95A-4AC1-A680-24AF08D302EC}"/>
                </a:ext>
              </a:extLst>
            </p:cNvPr>
            <p:cNvSpPr/>
            <p:nvPr/>
          </p:nvSpPr>
          <p:spPr>
            <a:xfrm>
              <a:off x="1588703" y="4519475"/>
              <a:ext cx="145396" cy="136843"/>
            </a:xfrm>
            <a:custGeom>
              <a:avLst/>
              <a:gdLst>
                <a:gd name="connsiteX0" fmla="*/ 145397 w 145396"/>
                <a:gd name="connsiteY0" fmla="*/ 64146 h 136843"/>
                <a:gd name="connsiteX1" fmla="*/ 47040 w 145396"/>
                <a:gd name="connsiteY1" fmla="*/ 0 h 136843"/>
                <a:gd name="connsiteX2" fmla="*/ 0 w 145396"/>
                <a:gd name="connsiteY2" fmla="*/ 72698 h 136843"/>
                <a:gd name="connsiteX3" fmla="*/ 98357 w 145396"/>
                <a:gd name="connsiteY3" fmla="*/ 136844 h 136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396" h="136843">
                  <a:moveTo>
                    <a:pt x="145397" y="64146"/>
                  </a:moveTo>
                  <a:lnTo>
                    <a:pt x="47040" y="0"/>
                  </a:lnTo>
                  <a:lnTo>
                    <a:pt x="0" y="72698"/>
                  </a:lnTo>
                  <a:lnTo>
                    <a:pt x="98357" y="136844"/>
                  </a:lnTo>
                  <a:close/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フリーフォーム: 図形 26">
              <a:extLst>
                <a:ext uri="{FF2B5EF4-FFF2-40B4-BE49-F238E27FC236}">
                  <a16:creationId xmlns:a16="http://schemas.microsoft.com/office/drawing/2014/main" id="{BEA2FF95-2C71-4974-BDDF-8EB2D0491DAE}"/>
                </a:ext>
              </a:extLst>
            </p:cNvPr>
            <p:cNvSpPr/>
            <p:nvPr/>
          </p:nvSpPr>
          <p:spPr>
            <a:xfrm>
              <a:off x="977991" y="4810268"/>
              <a:ext cx="418275" cy="393016"/>
            </a:xfrm>
            <a:custGeom>
              <a:avLst/>
              <a:gdLst>
                <a:gd name="connsiteX0" fmla="*/ 165969 w 418275"/>
                <a:gd name="connsiteY0" fmla="*/ 367768 h 393016"/>
                <a:gd name="connsiteX1" fmla="*/ 187351 w 418275"/>
                <a:gd name="connsiteY1" fmla="*/ 350663 h 393016"/>
                <a:gd name="connsiteX2" fmla="*/ 418275 w 418275"/>
                <a:gd name="connsiteY2" fmla="*/ 0 h 393016"/>
                <a:gd name="connsiteX3" fmla="*/ 384064 w 418275"/>
                <a:gd name="connsiteY3" fmla="*/ 4276 h 393016"/>
                <a:gd name="connsiteX4" fmla="*/ 307090 w 418275"/>
                <a:gd name="connsiteY4" fmla="*/ 42764 h 393016"/>
                <a:gd name="connsiteX5" fmla="*/ 33402 w 418275"/>
                <a:gd name="connsiteY5" fmla="*/ 307899 h 393016"/>
                <a:gd name="connsiteX6" fmla="*/ 3467 w 418275"/>
                <a:gd name="connsiteY6" fmla="*/ 359215 h 393016"/>
                <a:gd name="connsiteX7" fmla="*/ 37678 w 418275"/>
                <a:gd name="connsiteY7" fmla="*/ 384874 h 393016"/>
                <a:gd name="connsiteX8" fmla="*/ 165969 w 418275"/>
                <a:gd name="connsiteY8" fmla="*/ 367768 h 393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275" h="393016">
                  <a:moveTo>
                    <a:pt x="165969" y="367768"/>
                  </a:moveTo>
                  <a:cubicBezTo>
                    <a:pt x="165969" y="367768"/>
                    <a:pt x="174522" y="359215"/>
                    <a:pt x="187351" y="350663"/>
                  </a:cubicBezTo>
                  <a:lnTo>
                    <a:pt x="418275" y="0"/>
                  </a:lnTo>
                  <a:cubicBezTo>
                    <a:pt x="405446" y="0"/>
                    <a:pt x="392617" y="4276"/>
                    <a:pt x="384064" y="4276"/>
                  </a:cubicBezTo>
                  <a:cubicBezTo>
                    <a:pt x="354130" y="8553"/>
                    <a:pt x="328472" y="21382"/>
                    <a:pt x="307090" y="42764"/>
                  </a:cubicBezTo>
                  <a:cubicBezTo>
                    <a:pt x="217286" y="132568"/>
                    <a:pt x="136035" y="235201"/>
                    <a:pt x="33402" y="307899"/>
                  </a:cubicBezTo>
                  <a:cubicBezTo>
                    <a:pt x="16296" y="320728"/>
                    <a:pt x="-9362" y="337833"/>
                    <a:pt x="3467" y="359215"/>
                  </a:cubicBezTo>
                  <a:cubicBezTo>
                    <a:pt x="7744" y="372044"/>
                    <a:pt x="20573" y="376321"/>
                    <a:pt x="37678" y="384874"/>
                  </a:cubicBezTo>
                  <a:cubicBezTo>
                    <a:pt x="80442" y="397703"/>
                    <a:pt x="131758" y="397703"/>
                    <a:pt x="165969" y="36776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フリーフォーム: 図形 27">
              <a:extLst>
                <a:ext uri="{FF2B5EF4-FFF2-40B4-BE49-F238E27FC236}">
                  <a16:creationId xmlns:a16="http://schemas.microsoft.com/office/drawing/2014/main" id="{7967FCD3-470B-4B28-A9FD-BAEC981A2F86}"/>
                </a:ext>
              </a:extLst>
            </p:cNvPr>
            <p:cNvSpPr/>
            <p:nvPr/>
          </p:nvSpPr>
          <p:spPr>
            <a:xfrm>
              <a:off x="1088368" y="5207971"/>
              <a:ext cx="162502" cy="218095"/>
            </a:xfrm>
            <a:custGeom>
              <a:avLst/>
              <a:gdLst>
                <a:gd name="connsiteX0" fmla="*/ 162502 w 162502"/>
                <a:gd name="connsiteY0" fmla="*/ 115462 h 218095"/>
                <a:gd name="connsiteX1" fmla="*/ 102633 w 162502"/>
                <a:gd name="connsiteY1" fmla="*/ 0 h 218095"/>
                <a:gd name="connsiteX2" fmla="*/ 98357 w 162502"/>
                <a:gd name="connsiteY2" fmla="*/ 4276 h 218095"/>
                <a:gd name="connsiteX3" fmla="*/ 0 w 162502"/>
                <a:gd name="connsiteY3" fmla="*/ 153949 h 218095"/>
                <a:gd name="connsiteX4" fmla="*/ 98357 w 162502"/>
                <a:gd name="connsiteY4" fmla="*/ 218095 h 218095"/>
                <a:gd name="connsiteX5" fmla="*/ 162502 w 162502"/>
                <a:gd name="connsiteY5" fmla="*/ 115462 h 218095"/>
                <a:gd name="connsiteX6" fmla="*/ 162502 w 162502"/>
                <a:gd name="connsiteY6" fmla="*/ 115462 h 218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2502" h="218095">
                  <a:moveTo>
                    <a:pt x="162502" y="115462"/>
                  </a:moveTo>
                  <a:cubicBezTo>
                    <a:pt x="124015" y="89804"/>
                    <a:pt x="98357" y="47040"/>
                    <a:pt x="102633" y="0"/>
                  </a:cubicBezTo>
                  <a:cubicBezTo>
                    <a:pt x="102633" y="0"/>
                    <a:pt x="98357" y="0"/>
                    <a:pt x="98357" y="4276"/>
                  </a:cubicBezTo>
                  <a:lnTo>
                    <a:pt x="0" y="153949"/>
                  </a:lnTo>
                  <a:lnTo>
                    <a:pt x="98357" y="218095"/>
                  </a:lnTo>
                  <a:lnTo>
                    <a:pt x="162502" y="115462"/>
                  </a:lnTo>
                  <a:cubicBezTo>
                    <a:pt x="162502" y="115462"/>
                    <a:pt x="162502" y="115462"/>
                    <a:pt x="162502" y="11546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フリーフォーム: 図形 28">
              <a:extLst>
                <a:ext uri="{FF2B5EF4-FFF2-40B4-BE49-F238E27FC236}">
                  <a16:creationId xmlns:a16="http://schemas.microsoft.com/office/drawing/2014/main" id="{6B2FEAB4-F931-42A1-8014-BDDBFF44ADB8}"/>
                </a:ext>
              </a:extLst>
            </p:cNvPr>
            <p:cNvSpPr/>
            <p:nvPr/>
          </p:nvSpPr>
          <p:spPr>
            <a:xfrm>
              <a:off x="1287457" y="5344815"/>
              <a:ext cx="138744" cy="181809"/>
            </a:xfrm>
            <a:custGeom>
              <a:avLst/>
              <a:gdLst>
                <a:gd name="connsiteX0" fmla="*/ 138744 w 138744"/>
                <a:gd name="connsiteY0" fmla="*/ 25658 h 181809"/>
                <a:gd name="connsiteX1" fmla="*/ 27559 w 138744"/>
                <a:gd name="connsiteY1" fmla="*/ 0 h 181809"/>
                <a:gd name="connsiteX2" fmla="*/ 1900 w 138744"/>
                <a:gd name="connsiteY2" fmla="*/ 111186 h 181809"/>
                <a:gd name="connsiteX3" fmla="*/ 44664 w 138744"/>
                <a:gd name="connsiteY3" fmla="*/ 179608 h 181809"/>
                <a:gd name="connsiteX4" fmla="*/ 117362 w 138744"/>
                <a:gd name="connsiteY4" fmla="*/ 141120 h 181809"/>
                <a:gd name="connsiteX5" fmla="*/ 138744 w 138744"/>
                <a:gd name="connsiteY5" fmla="*/ 25658 h 181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744" h="181809">
                  <a:moveTo>
                    <a:pt x="138744" y="25658"/>
                  </a:moveTo>
                  <a:cubicBezTo>
                    <a:pt x="100257" y="21382"/>
                    <a:pt x="66046" y="12829"/>
                    <a:pt x="27559" y="0"/>
                  </a:cubicBezTo>
                  <a:cubicBezTo>
                    <a:pt x="19006" y="38487"/>
                    <a:pt x="10453" y="76975"/>
                    <a:pt x="1900" y="111186"/>
                  </a:cubicBezTo>
                  <a:cubicBezTo>
                    <a:pt x="-6652" y="141120"/>
                    <a:pt x="14729" y="171055"/>
                    <a:pt x="44664" y="179608"/>
                  </a:cubicBezTo>
                  <a:cubicBezTo>
                    <a:pt x="78875" y="188160"/>
                    <a:pt x="113086" y="171055"/>
                    <a:pt x="117362" y="141120"/>
                  </a:cubicBezTo>
                  <a:cubicBezTo>
                    <a:pt x="125915" y="106909"/>
                    <a:pt x="130192" y="68422"/>
                    <a:pt x="138744" y="2565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フリーフォーム: 図形 29">
              <a:extLst>
                <a:ext uri="{FF2B5EF4-FFF2-40B4-BE49-F238E27FC236}">
                  <a16:creationId xmlns:a16="http://schemas.microsoft.com/office/drawing/2014/main" id="{0C2E2811-AA57-426A-AAAC-30AF6B3F5AC2}"/>
                </a:ext>
              </a:extLst>
            </p:cNvPr>
            <p:cNvSpPr/>
            <p:nvPr/>
          </p:nvSpPr>
          <p:spPr>
            <a:xfrm>
              <a:off x="1445683" y="5374750"/>
              <a:ext cx="125915" cy="188702"/>
            </a:xfrm>
            <a:custGeom>
              <a:avLst/>
              <a:gdLst>
                <a:gd name="connsiteX0" fmla="*/ 1900 w 125915"/>
                <a:gd name="connsiteY0" fmla="*/ 124015 h 188702"/>
                <a:gd name="connsiteX1" fmla="*/ 44664 w 125915"/>
                <a:gd name="connsiteY1" fmla="*/ 188161 h 188702"/>
                <a:gd name="connsiteX2" fmla="*/ 108810 w 125915"/>
                <a:gd name="connsiteY2" fmla="*/ 136844 h 188702"/>
                <a:gd name="connsiteX3" fmla="*/ 125915 w 125915"/>
                <a:gd name="connsiteY3" fmla="*/ 12829 h 188702"/>
                <a:gd name="connsiteX4" fmla="*/ 19006 w 125915"/>
                <a:gd name="connsiteY4" fmla="*/ 0 h 188702"/>
                <a:gd name="connsiteX5" fmla="*/ 1900 w 125915"/>
                <a:gd name="connsiteY5" fmla="*/ 124015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915" h="188702">
                  <a:moveTo>
                    <a:pt x="1900" y="124015"/>
                  </a:moveTo>
                  <a:cubicBezTo>
                    <a:pt x="-6652" y="153949"/>
                    <a:pt x="14730" y="183884"/>
                    <a:pt x="44664" y="188161"/>
                  </a:cubicBezTo>
                  <a:cubicBezTo>
                    <a:pt x="74599" y="192437"/>
                    <a:pt x="104533" y="171055"/>
                    <a:pt x="108810" y="136844"/>
                  </a:cubicBezTo>
                  <a:cubicBezTo>
                    <a:pt x="117362" y="98357"/>
                    <a:pt x="121639" y="55593"/>
                    <a:pt x="125915" y="12829"/>
                  </a:cubicBezTo>
                  <a:cubicBezTo>
                    <a:pt x="91704" y="8553"/>
                    <a:pt x="57493" y="8553"/>
                    <a:pt x="19006" y="0"/>
                  </a:cubicBezTo>
                  <a:cubicBezTo>
                    <a:pt x="19006" y="47040"/>
                    <a:pt x="10453" y="85527"/>
                    <a:pt x="1900" y="124015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フリーフォーム: 図形 30">
              <a:extLst>
                <a:ext uri="{FF2B5EF4-FFF2-40B4-BE49-F238E27FC236}">
                  <a16:creationId xmlns:a16="http://schemas.microsoft.com/office/drawing/2014/main" id="{FF83BCF9-3576-4E02-8C51-C49A51A88046}"/>
                </a:ext>
              </a:extLst>
            </p:cNvPr>
            <p:cNvSpPr/>
            <p:nvPr/>
          </p:nvSpPr>
          <p:spPr>
            <a:xfrm>
              <a:off x="1241662" y="4810268"/>
              <a:ext cx="975667" cy="660332"/>
            </a:xfrm>
            <a:custGeom>
              <a:avLst/>
              <a:gdLst>
                <a:gd name="connsiteX0" fmla="*/ 958562 w 975667"/>
                <a:gd name="connsiteY0" fmla="*/ 320728 h 660332"/>
                <a:gd name="connsiteX1" fmla="*/ 885864 w 975667"/>
                <a:gd name="connsiteY1" fmla="*/ 299346 h 660332"/>
                <a:gd name="connsiteX2" fmla="*/ 757573 w 975667"/>
                <a:gd name="connsiteY2" fmla="*/ 230924 h 660332"/>
                <a:gd name="connsiteX3" fmla="*/ 629282 w 975667"/>
                <a:gd name="connsiteY3" fmla="*/ 132568 h 660332"/>
                <a:gd name="connsiteX4" fmla="*/ 496714 w 975667"/>
                <a:gd name="connsiteY4" fmla="*/ 38487 h 660332"/>
                <a:gd name="connsiteX5" fmla="*/ 483885 w 975667"/>
                <a:gd name="connsiteY5" fmla="*/ 34211 h 660332"/>
                <a:gd name="connsiteX6" fmla="*/ 402634 w 975667"/>
                <a:gd name="connsiteY6" fmla="*/ 0 h 660332"/>
                <a:gd name="connsiteX7" fmla="*/ 389805 w 975667"/>
                <a:gd name="connsiteY7" fmla="*/ 17105 h 660332"/>
                <a:gd name="connsiteX8" fmla="*/ 389805 w 975667"/>
                <a:gd name="connsiteY8" fmla="*/ 17105 h 660332"/>
                <a:gd name="connsiteX9" fmla="*/ 265790 w 975667"/>
                <a:gd name="connsiteY9" fmla="*/ 209542 h 660332"/>
                <a:gd name="connsiteX10" fmla="*/ 201644 w 975667"/>
                <a:gd name="connsiteY10" fmla="*/ 307899 h 660332"/>
                <a:gd name="connsiteX11" fmla="*/ 201644 w 975667"/>
                <a:gd name="connsiteY11" fmla="*/ 307899 h 660332"/>
                <a:gd name="connsiteX12" fmla="*/ 201644 w 975667"/>
                <a:gd name="connsiteY12" fmla="*/ 307899 h 660332"/>
                <a:gd name="connsiteX13" fmla="*/ 248684 w 975667"/>
                <a:gd name="connsiteY13" fmla="*/ 312175 h 660332"/>
                <a:gd name="connsiteX14" fmla="*/ 287172 w 975667"/>
                <a:gd name="connsiteY14" fmla="*/ 316451 h 660332"/>
                <a:gd name="connsiteX15" fmla="*/ 347041 w 975667"/>
                <a:gd name="connsiteY15" fmla="*/ 320728 h 660332"/>
                <a:gd name="connsiteX16" fmla="*/ 505267 w 975667"/>
                <a:gd name="connsiteY16" fmla="*/ 252306 h 660332"/>
                <a:gd name="connsiteX17" fmla="*/ 535201 w 975667"/>
                <a:gd name="connsiteY17" fmla="*/ 256582 h 660332"/>
                <a:gd name="connsiteX18" fmla="*/ 530925 w 975667"/>
                <a:gd name="connsiteY18" fmla="*/ 290793 h 660332"/>
                <a:gd name="connsiteX19" fmla="*/ 347041 w 975667"/>
                <a:gd name="connsiteY19" fmla="*/ 372044 h 660332"/>
                <a:gd name="connsiteX20" fmla="*/ 342765 w 975667"/>
                <a:gd name="connsiteY20" fmla="*/ 372044 h 660332"/>
                <a:gd name="connsiteX21" fmla="*/ 214474 w 975667"/>
                <a:gd name="connsiteY21" fmla="*/ 359215 h 660332"/>
                <a:gd name="connsiteX22" fmla="*/ 163157 w 975667"/>
                <a:gd name="connsiteY22" fmla="*/ 350663 h 660332"/>
                <a:gd name="connsiteX23" fmla="*/ 124670 w 975667"/>
                <a:gd name="connsiteY23" fmla="*/ 342110 h 660332"/>
                <a:gd name="connsiteX24" fmla="*/ 81906 w 975667"/>
                <a:gd name="connsiteY24" fmla="*/ 333557 h 660332"/>
                <a:gd name="connsiteX25" fmla="*/ 655 w 975667"/>
                <a:gd name="connsiteY25" fmla="*/ 393426 h 660332"/>
                <a:gd name="connsiteX26" fmla="*/ 39142 w 975667"/>
                <a:gd name="connsiteY26" fmla="*/ 474677 h 660332"/>
                <a:gd name="connsiteX27" fmla="*/ 107564 w 975667"/>
                <a:gd name="connsiteY27" fmla="*/ 496059 h 660332"/>
                <a:gd name="connsiteX28" fmla="*/ 218750 w 975667"/>
                <a:gd name="connsiteY28" fmla="*/ 517441 h 660332"/>
                <a:gd name="connsiteX29" fmla="*/ 364147 w 975667"/>
                <a:gd name="connsiteY29" fmla="*/ 530270 h 660332"/>
                <a:gd name="connsiteX30" fmla="*/ 376976 w 975667"/>
                <a:gd name="connsiteY30" fmla="*/ 538823 h 660332"/>
                <a:gd name="connsiteX31" fmla="*/ 548031 w 975667"/>
                <a:gd name="connsiteY31" fmla="*/ 658561 h 660332"/>
                <a:gd name="connsiteX32" fmla="*/ 642111 w 975667"/>
                <a:gd name="connsiteY32" fmla="*/ 654285 h 660332"/>
                <a:gd name="connsiteX33" fmla="*/ 727638 w 975667"/>
                <a:gd name="connsiteY33" fmla="*/ 624351 h 660332"/>
                <a:gd name="connsiteX34" fmla="*/ 783231 w 975667"/>
                <a:gd name="connsiteY34" fmla="*/ 615798 h 660332"/>
                <a:gd name="connsiteX35" fmla="*/ 915799 w 975667"/>
                <a:gd name="connsiteY35" fmla="*/ 650009 h 660332"/>
                <a:gd name="connsiteX36" fmla="*/ 941457 w 975667"/>
                <a:gd name="connsiteY36" fmla="*/ 466125 h 660332"/>
                <a:gd name="connsiteX37" fmla="*/ 975668 w 975667"/>
                <a:gd name="connsiteY37" fmla="*/ 337833 h 660332"/>
                <a:gd name="connsiteX38" fmla="*/ 958562 w 975667"/>
                <a:gd name="connsiteY38" fmla="*/ 320728 h 66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75667" h="660332">
                  <a:moveTo>
                    <a:pt x="958562" y="320728"/>
                  </a:moveTo>
                  <a:cubicBezTo>
                    <a:pt x="932904" y="312175"/>
                    <a:pt x="911522" y="307899"/>
                    <a:pt x="885864" y="299346"/>
                  </a:cubicBezTo>
                  <a:cubicBezTo>
                    <a:pt x="838824" y="282241"/>
                    <a:pt x="796060" y="260859"/>
                    <a:pt x="757573" y="230924"/>
                  </a:cubicBezTo>
                  <a:cubicBezTo>
                    <a:pt x="719085" y="200989"/>
                    <a:pt x="672045" y="162502"/>
                    <a:pt x="629282" y="132568"/>
                  </a:cubicBezTo>
                  <a:cubicBezTo>
                    <a:pt x="569412" y="85527"/>
                    <a:pt x="513820" y="47040"/>
                    <a:pt x="496714" y="38487"/>
                  </a:cubicBezTo>
                  <a:cubicBezTo>
                    <a:pt x="492438" y="38487"/>
                    <a:pt x="488161" y="34211"/>
                    <a:pt x="483885" y="34211"/>
                  </a:cubicBezTo>
                  <a:cubicBezTo>
                    <a:pt x="466779" y="25658"/>
                    <a:pt x="436845" y="8553"/>
                    <a:pt x="402634" y="0"/>
                  </a:cubicBezTo>
                  <a:lnTo>
                    <a:pt x="389805" y="17105"/>
                  </a:lnTo>
                  <a:cubicBezTo>
                    <a:pt x="389805" y="17105"/>
                    <a:pt x="389805" y="17105"/>
                    <a:pt x="389805" y="17105"/>
                  </a:cubicBezTo>
                  <a:lnTo>
                    <a:pt x="265790" y="209542"/>
                  </a:lnTo>
                  <a:lnTo>
                    <a:pt x="201644" y="307899"/>
                  </a:lnTo>
                  <a:lnTo>
                    <a:pt x="201644" y="307899"/>
                  </a:lnTo>
                  <a:lnTo>
                    <a:pt x="201644" y="307899"/>
                  </a:lnTo>
                  <a:cubicBezTo>
                    <a:pt x="218750" y="307899"/>
                    <a:pt x="231579" y="312175"/>
                    <a:pt x="248684" y="312175"/>
                  </a:cubicBezTo>
                  <a:cubicBezTo>
                    <a:pt x="261514" y="312175"/>
                    <a:pt x="274343" y="316451"/>
                    <a:pt x="287172" y="316451"/>
                  </a:cubicBezTo>
                  <a:cubicBezTo>
                    <a:pt x="308554" y="316451"/>
                    <a:pt x="325659" y="320728"/>
                    <a:pt x="347041" y="320728"/>
                  </a:cubicBezTo>
                  <a:cubicBezTo>
                    <a:pt x="402634" y="325004"/>
                    <a:pt x="458227" y="299346"/>
                    <a:pt x="505267" y="252306"/>
                  </a:cubicBezTo>
                  <a:cubicBezTo>
                    <a:pt x="513820" y="243753"/>
                    <a:pt x="526649" y="243753"/>
                    <a:pt x="535201" y="256582"/>
                  </a:cubicBezTo>
                  <a:cubicBezTo>
                    <a:pt x="543754" y="269411"/>
                    <a:pt x="539478" y="282241"/>
                    <a:pt x="530925" y="290793"/>
                  </a:cubicBezTo>
                  <a:cubicBezTo>
                    <a:pt x="475332" y="346386"/>
                    <a:pt x="415463" y="376321"/>
                    <a:pt x="347041" y="372044"/>
                  </a:cubicBezTo>
                  <a:cubicBezTo>
                    <a:pt x="347041" y="372044"/>
                    <a:pt x="342765" y="372044"/>
                    <a:pt x="342765" y="372044"/>
                  </a:cubicBezTo>
                  <a:cubicBezTo>
                    <a:pt x="300001" y="367768"/>
                    <a:pt x="257237" y="367768"/>
                    <a:pt x="214474" y="359215"/>
                  </a:cubicBezTo>
                  <a:cubicBezTo>
                    <a:pt x="205921" y="359215"/>
                    <a:pt x="167433" y="350663"/>
                    <a:pt x="163157" y="350663"/>
                  </a:cubicBezTo>
                  <a:cubicBezTo>
                    <a:pt x="150328" y="350663"/>
                    <a:pt x="137499" y="346386"/>
                    <a:pt x="124670" y="342110"/>
                  </a:cubicBezTo>
                  <a:cubicBezTo>
                    <a:pt x="111841" y="337833"/>
                    <a:pt x="94735" y="337833"/>
                    <a:pt x="81906" y="333557"/>
                  </a:cubicBezTo>
                  <a:cubicBezTo>
                    <a:pt x="43419" y="325004"/>
                    <a:pt x="9208" y="350663"/>
                    <a:pt x="655" y="393426"/>
                  </a:cubicBezTo>
                  <a:cubicBezTo>
                    <a:pt x="-3621" y="423361"/>
                    <a:pt x="13484" y="457572"/>
                    <a:pt x="39142" y="474677"/>
                  </a:cubicBezTo>
                  <a:cubicBezTo>
                    <a:pt x="51971" y="483230"/>
                    <a:pt x="99011" y="491783"/>
                    <a:pt x="107564" y="496059"/>
                  </a:cubicBezTo>
                  <a:cubicBezTo>
                    <a:pt x="146052" y="504612"/>
                    <a:pt x="184539" y="508888"/>
                    <a:pt x="218750" y="517441"/>
                  </a:cubicBezTo>
                  <a:cubicBezTo>
                    <a:pt x="265790" y="525994"/>
                    <a:pt x="364147" y="530270"/>
                    <a:pt x="364147" y="530270"/>
                  </a:cubicBezTo>
                  <a:cubicBezTo>
                    <a:pt x="368423" y="530270"/>
                    <a:pt x="372699" y="534547"/>
                    <a:pt x="376976" y="538823"/>
                  </a:cubicBezTo>
                  <a:cubicBezTo>
                    <a:pt x="428292" y="620074"/>
                    <a:pt x="479609" y="654285"/>
                    <a:pt x="548031" y="658561"/>
                  </a:cubicBezTo>
                  <a:cubicBezTo>
                    <a:pt x="577965" y="662838"/>
                    <a:pt x="607900" y="658561"/>
                    <a:pt x="642111" y="654285"/>
                  </a:cubicBezTo>
                  <a:cubicBezTo>
                    <a:pt x="672045" y="650009"/>
                    <a:pt x="697704" y="632903"/>
                    <a:pt x="727638" y="624351"/>
                  </a:cubicBezTo>
                  <a:cubicBezTo>
                    <a:pt x="744744" y="615798"/>
                    <a:pt x="761849" y="611521"/>
                    <a:pt x="783231" y="615798"/>
                  </a:cubicBezTo>
                  <a:cubicBezTo>
                    <a:pt x="804613" y="615798"/>
                    <a:pt x="894417" y="645732"/>
                    <a:pt x="915799" y="650009"/>
                  </a:cubicBezTo>
                  <a:cubicBezTo>
                    <a:pt x="915799" y="650009"/>
                    <a:pt x="937180" y="474677"/>
                    <a:pt x="941457" y="466125"/>
                  </a:cubicBezTo>
                  <a:cubicBezTo>
                    <a:pt x="950010" y="419084"/>
                    <a:pt x="962839" y="376321"/>
                    <a:pt x="975668" y="337833"/>
                  </a:cubicBezTo>
                  <a:cubicBezTo>
                    <a:pt x="971391" y="325004"/>
                    <a:pt x="975668" y="325004"/>
                    <a:pt x="958562" y="320728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フリーフォーム: 図形 31">
              <a:extLst>
                <a:ext uri="{FF2B5EF4-FFF2-40B4-BE49-F238E27FC236}">
                  <a16:creationId xmlns:a16="http://schemas.microsoft.com/office/drawing/2014/main" id="{8AADCB42-8161-446C-9005-CE9BB370C4AF}"/>
                </a:ext>
              </a:extLst>
            </p:cNvPr>
            <p:cNvSpPr/>
            <p:nvPr/>
          </p:nvSpPr>
          <p:spPr>
            <a:xfrm>
              <a:off x="1255146" y="4630660"/>
              <a:ext cx="410531" cy="478954"/>
            </a:xfrm>
            <a:custGeom>
              <a:avLst/>
              <a:gdLst>
                <a:gd name="connsiteX0" fmla="*/ 8553 w 410531"/>
                <a:gd name="connsiteY0" fmla="*/ 457572 h 478954"/>
                <a:gd name="connsiteX1" fmla="*/ 0 w 410531"/>
                <a:gd name="connsiteY1" fmla="*/ 474677 h 478954"/>
                <a:gd name="connsiteX2" fmla="*/ 85527 w 410531"/>
                <a:gd name="connsiteY2" fmla="*/ 470401 h 478954"/>
                <a:gd name="connsiteX3" fmla="*/ 85527 w 410531"/>
                <a:gd name="connsiteY3" fmla="*/ 470401 h 478954"/>
                <a:gd name="connsiteX4" fmla="*/ 141120 w 410531"/>
                <a:gd name="connsiteY4" fmla="*/ 478954 h 478954"/>
                <a:gd name="connsiteX5" fmla="*/ 410532 w 410531"/>
                <a:gd name="connsiteY5" fmla="*/ 64146 h 478954"/>
                <a:gd name="connsiteX6" fmla="*/ 312175 w 410531"/>
                <a:gd name="connsiteY6" fmla="*/ 0 h 478954"/>
                <a:gd name="connsiteX7" fmla="*/ 8553 w 410531"/>
                <a:gd name="connsiteY7" fmla="*/ 457572 h 478954"/>
                <a:gd name="connsiteX8" fmla="*/ 8553 w 410531"/>
                <a:gd name="connsiteY8" fmla="*/ 457572 h 47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531" h="478954">
                  <a:moveTo>
                    <a:pt x="8553" y="457572"/>
                  </a:moveTo>
                  <a:lnTo>
                    <a:pt x="0" y="474677"/>
                  </a:lnTo>
                  <a:cubicBezTo>
                    <a:pt x="0" y="474677"/>
                    <a:pt x="42764" y="461849"/>
                    <a:pt x="85527" y="470401"/>
                  </a:cubicBezTo>
                  <a:lnTo>
                    <a:pt x="85527" y="470401"/>
                  </a:lnTo>
                  <a:cubicBezTo>
                    <a:pt x="102633" y="474677"/>
                    <a:pt x="124015" y="474677"/>
                    <a:pt x="141120" y="478954"/>
                  </a:cubicBezTo>
                  <a:lnTo>
                    <a:pt x="410532" y="64146"/>
                  </a:lnTo>
                  <a:lnTo>
                    <a:pt x="312175" y="0"/>
                  </a:lnTo>
                  <a:lnTo>
                    <a:pt x="8553" y="457572"/>
                  </a:lnTo>
                  <a:cubicBezTo>
                    <a:pt x="8553" y="457572"/>
                    <a:pt x="8553" y="457572"/>
                    <a:pt x="8553" y="457572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フリーフォーム: 図形 32">
              <a:extLst>
                <a:ext uri="{FF2B5EF4-FFF2-40B4-BE49-F238E27FC236}">
                  <a16:creationId xmlns:a16="http://schemas.microsoft.com/office/drawing/2014/main" id="{5C2A3CA8-3CF3-495A-A005-5DA262455F0A}"/>
                </a:ext>
              </a:extLst>
            </p:cNvPr>
            <p:cNvSpPr/>
            <p:nvPr/>
          </p:nvSpPr>
          <p:spPr>
            <a:xfrm>
              <a:off x="934419" y="5408961"/>
              <a:ext cx="218094" cy="282240"/>
            </a:xfrm>
            <a:custGeom>
              <a:avLst/>
              <a:gdLst>
                <a:gd name="connsiteX0" fmla="*/ 111186 w 218094"/>
                <a:gd name="connsiteY0" fmla="*/ 34211 h 282240"/>
                <a:gd name="connsiteX1" fmla="*/ 4276 w 218094"/>
                <a:gd name="connsiteY1" fmla="*/ 81251 h 282240"/>
                <a:gd name="connsiteX2" fmla="*/ 0 w 218094"/>
                <a:gd name="connsiteY2" fmla="*/ 85527 h 282240"/>
                <a:gd name="connsiteX3" fmla="*/ 0 w 218094"/>
                <a:gd name="connsiteY3" fmla="*/ 89804 h 282240"/>
                <a:gd name="connsiteX4" fmla="*/ 8553 w 218094"/>
                <a:gd name="connsiteY4" fmla="*/ 226648 h 282240"/>
                <a:gd name="connsiteX5" fmla="*/ 12829 w 218094"/>
                <a:gd name="connsiteY5" fmla="*/ 273688 h 282240"/>
                <a:gd name="connsiteX6" fmla="*/ 68422 w 218094"/>
                <a:gd name="connsiteY6" fmla="*/ 179608 h 282240"/>
                <a:gd name="connsiteX7" fmla="*/ 68422 w 218094"/>
                <a:gd name="connsiteY7" fmla="*/ 162502 h 282240"/>
                <a:gd name="connsiteX8" fmla="*/ 68422 w 218094"/>
                <a:gd name="connsiteY8" fmla="*/ 141120 h 282240"/>
                <a:gd name="connsiteX9" fmla="*/ 81251 w 218094"/>
                <a:gd name="connsiteY9" fmla="*/ 124015 h 282240"/>
                <a:gd name="connsiteX10" fmla="*/ 128291 w 218094"/>
                <a:gd name="connsiteY10" fmla="*/ 132568 h 282240"/>
                <a:gd name="connsiteX11" fmla="*/ 106909 w 218094"/>
                <a:gd name="connsiteY11" fmla="*/ 183884 h 282240"/>
                <a:gd name="connsiteX12" fmla="*/ 94080 w 218094"/>
                <a:gd name="connsiteY12" fmla="*/ 183884 h 282240"/>
                <a:gd name="connsiteX13" fmla="*/ 85527 w 218094"/>
                <a:gd name="connsiteY13" fmla="*/ 192437 h 282240"/>
                <a:gd name="connsiteX14" fmla="*/ 29935 w 218094"/>
                <a:gd name="connsiteY14" fmla="*/ 282241 h 282240"/>
                <a:gd name="connsiteX15" fmla="*/ 145397 w 218094"/>
                <a:gd name="connsiteY15" fmla="*/ 235201 h 282240"/>
                <a:gd name="connsiteX16" fmla="*/ 196713 w 218094"/>
                <a:gd name="connsiteY16" fmla="*/ 213819 h 282240"/>
                <a:gd name="connsiteX17" fmla="*/ 200989 w 218094"/>
                <a:gd name="connsiteY17" fmla="*/ 209542 h 282240"/>
                <a:gd name="connsiteX18" fmla="*/ 200989 w 218094"/>
                <a:gd name="connsiteY18" fmla="*/ 166778 h 282240"/>
                <a:gd name="connsiteX19" fmla="*/ 200989 w 218094"/>
                <a:gd name="connsiteY19" fmla="*/ 89804 h 282240"/>
                <a:gd name="connsiteX20" fmla="*/ 205266 w 218094"/>
                <a:gd name="connsiteY20" fmla="*/ 68422 h 282240"/>
                <a:gd name="connsiteX21" fmla="*/ 218095 w 218094"/>
                <a:gd name="connsiteY21" fmla="*/ 47040 h 282240"/>
                <a:gd name="connsiteX22" fmla="*/ 141120 w 218094"/>
                <a:gd name="connsiteY22" fmla="*/ 0 h 282240"/>
                <a:gd name="connsiteX23" fmla="*/ 111186 w 218094"/>
                <a:gd name="connsiteY23" fmla="*/ 34211 h 28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8094" h="282240">
                  <a:moveTo>
                    <a:pt x="111186" y="34211"/>
                  </a:moveTo>
                  <a:cubicBezTo>
                    <a:pt x="94080" y="42764"/>
                    <a:pt x="4276" y="81251"/>
                    <a:pt x="4276" y="81251"/>
                  </a:cubicBezTo>
                  <a:cubicBezTo>
                    <a:pt x="4276" y="81251"/>
                    <a:pt x="0" y="81251"/>
                    <a:pt x="0" y="85527"/>
                  </a:cubicBezTo>
                  <a:cubicBezTo>
                    <a:pt x="0" y="85527"/>
                    <a:pt x="0" y="89804"/>
                    <a:pt x="0" y="89804"/>
                  </a:cubicBezTo>
                  <a:cubicBezTo>
                    <a:pt x="0" y="89804"/>
                    <a:pt x="8553" y="226648"/>
                    <a:pt x="8553" y="226648"/>
                  </a:cubicBezTo>
                  <a:lnTo>
                    <a:pt x="12829" y="273688"/>
                  </a:lnTo>
                  <a:cubicBezTo>
                    <a:pt x="17105" y="265135"/>
                    <a:pt x="68422" y="188160"/>
                    <a:pt x="68422" y="179608"/>
                  </a:cubicBezTo>
                  <a:cubicBezTo>
                    <a:pt x="72698" y="171055"/>
                    <a:pt x="72698" y="171055"/>
                    <a:pt x="68422" y="162502"/>
                  </a:cubicBezTo>
                  <a:cubicBezTo>
                    <a:pt x="68422" y="158226"/>
                    <a:pt x="64146" y="149673"/>
                    <a:pt x="68422" y="141120"/>
                  </a:cubicBezTo>
                  <a:cubicBezTo>
                    <a:pt x="72698" y="132568"/>
                    <a:pt x="81251" y="124015"/>
                    <a:pt x="81251" y="124015"/>
                  </a:cubicBezTo>
                  <a:cubicBezTo>
                    <a:pt x="98357" y="115462"/>
                    <a:pt x="115462" y="119738"/>
                    <a:pt x="128291" y="132568"/>
                  </a:cubicBezTo>
                  <a:cubicBezTo>
                    <a:pt x="141120" y="149673"/>
                    <a:pt x="128291" y="179608"/>
                    <a:pt x="106909" y="183884"/>
                  </a:cubicBezTo>
                  <a:cubicBezTo>
                    <a:pt x="102633" y="183884"/>
                    <a:pt x="98357" y="183884"/>
                    <a:pt x="94080" y="183884"/>
                  </a:cubicBezTo>
                  <a:cubicBezTo>
                    <a:pt x="89804" y="183884"/>
                    <a:pt x="85527" y="188160"/>
                    <a:pt x="85527" y="192437"/>
                  </a:cubicBezTo>
                  <a:cubicBezTo>
                    <a:pt x="76975" y="209542"/>
                    <a:pt x="29935" y="282241"/>
                    <a:pt x="29935" y="282241"/>
                  </a:cubicBezTo>
                  <a:lnTo>
                    <a:pt x="145397" y="235201"/>
                  </a:lnTo>
                  <a:lnTo>
                    <a:pt x="196713" y="213819"/>
                  </a:lnTo>
                  <a:cubicBezTo>
                    <a:pt x="196713" y="213819"/>
                    <a:pt x="200989" y="213819"/>
                    <a:pt x="200989" y="209542"/>
                  </a:cubicBezTo>
                  <a:lnTo>
                    <a:pt x="200989" y="166778"/>
                  </a:lnTo>
                  <a:lnTo>
                    <a:pt x="200989" y="89804"/>
                  </a:lnTo>
                  <a:cubicBezTo>
                    <a:pt x="200989" y="89804"/>
                    <a:pt x="200989" y="76975"/>
                    <a:pt x="205266" y="68422"/>
                  </a:cubicBezTo>
                  <a:cubicBezTo>
                    <a:pt x="209542" y="59869"/>
                    <a:pt x="218095" y="47040"/>
                    <a:pt x="218095" y="47040"/>
                  </a:cubicBezTo>
                  <a:lnTo>
                    <a:pt x="141120" y="0"/>
                  </a:lnTo>
                  <a:cubicBezTo>
                    <a:pt x="141120" y="4276"/>
                    <a:pt x="128291" y="25658"/>
                    <a:pt x="111186" y="3421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フリーフォーム: 図形 33">
              <a:extLst>
                <a:ext uri="{FF2B5EF4-FFF2-40B4-BE49-F238E27FC236}">
                  <a16:creationId xmlns:a16="http://schemas.microsoft.com/office/drawing/2014/main" id="{873F09AD-67C7-42AB-BC81-506F32286863}"/>
                </a:ext>
              </a:extLst>
            </p:cNvPr>
            <p:cNvSpPr/>
            <p:nvPr/>
          </p:nvSpPr>
          <p:spPr>
            <a:xfrm>
              <a:off x="728536" y="5733136"/>
              <a:ext cx="1485182" cy="342938"/>
            </a:xfrm>
            <a:custGeom>
              <a:avLst/>
              <a:gdLst>
                <a:gd name="connsiteX0" fmla="*/ 1454583 w 1485182"/>
                <a:gd name="connsiteY0" fmla="*/ 163331 h 342938"/>
                <a:gd name="connsiteX1" fmla="*/ 821680 w 1485182"/>
                <a:gd name="connsiteY1" fmla="*/ 184713 h 342938"/>
                <a:gd name="connsiteX2" fmla="*/ 851615 w 1485182"/>
                <a:gd name="connsiteY2" fmla="*/ 171884 h 342938"/>
                <a:gd name="connsiteX3" fmla="*/ 868720 w 1485182"/>
                <a:gd name="connsiteY3" fmla="*/ 124844 h 342938"/>
                <a:gd name="connsiteX4" fmla="*/ 821680 w 1485182"/>
                <a:gd name="connsiteY4" fmla="*/ 107738 h 342938"/>
                <a:gd name="connsiteX5" fmla="*/ 659178 w 1485182"/>
                <a:gd name="connsiteY5" fmla="*/ 176160 h 342938"/>
                <a:gd name="connsiteX6" fmla="*/ 86144 w 1485182"/>
                <a:gd name="connsiteY6" fmla="*/ 99185 h 342938"/>
                <a:gd name="connsiteX7" fmla="*/ 205882 w 1485182"/>
                <a:gd name="connsiteY7" fmla="*/ 64974 h 342938"/>
                <a:gd name="connsiteX8" fmla="*/ 231541 w 1485182"/>
                <a:gd name="connsiteY8" fmla="*/ 26487 h 342938"/>
                <a:gd name="connsiteX9" fmla="*/ 193053 w 1485182"/>
                <a:gd name="connsiteY9" fmla="*/ 829 h 342938"/>
                <a:gd name="connsiteX10" fmla="*/ 617 w 1485182"/>
                <a:gd name="connsiteY10" fmla="*/ 107738 h 342938"/>
                <a:gd name="connsiteX11" fmla="*/ 518058 w 1485182"/>
                <a:gd name="connsiteY11" fmla="*/ 240306 h 342938"/>
                <a:gd name="connsiteX12" fmla="*/ 436807 w 1485182"/>
                <a:gd name="connsiteY12" fmla="*/ 274517 h 342938"/>
                <a:gd name="connsiteX13" fmla="*/ 419701 w 1485182"/>
                <a:gd name="connsiteY13" fmla="*/ 321557 h 342938"/>
                <a:gd name="connsiteX14" fmla="*/ 449636 w 1485182"/>
                <a:gd name="connsiteY14" fmla="*/ 342939 h 342938"/>
                <a:gd name="connsiteX15" fmla="*/ 462465 w 1485182"/>
                <a:gd name="connsiteY15" fmla="*/ 338662 h 342938"/>
                <a:gd name="connsiteX16" fmla="*/ 667731 w 1485182"/>
                <a:gd name="connsiteY16" fmla="*/ 248858 h 342938"/>
                <a:gd name="connsiteX17" fmla="*/ 992735 w 1485182"/>
                <a:gd name="connsiteY17" fmla="*/ 257411 h 342938"/>
                <a:gd name="connsiteX18" fmla="*/ 1454583 w 1485182"/>
                <a:gd name="connsiteY18" fmla="*/ 236029 h 342938"/>
                <a:gd name="connsiteX19" fmla="*/ 1484518 w 1485182"/>
                <a:gd name="connsiteY19" fmla="*/ 197542 h 342938"/>
                <a:gd name="connsiteX20" fmla="*/ 1454583 w 1485182"/>
                <a:gd name="connsiteY20" fmla="*/ 163331 h 3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85182" h="342938">
                  <a:moveTo>
                    <a:pt x="1454583" y="163331"/>
                  </a:moveTo>
                  <a:cubicBezTo>
                    <a:pt x="1249317" y="184713"/>
                    <a:pt x="1026946" y="188989"/>
                    <a:pt x="821680" y="184713"/>
                  </a:cubicBezTo>
                  <a:lnTo>
                    <a:pt x="851615" y="171884"/>
                  </a:lnTo>
                  <a:cubicBezTo>
                    <a:pt x="868720" y="163331"/>
                    <a:pt x="877273" y="141949"/>
                    <a:pt x="868720" y="124844"/>
                  </a:cubicBezTo>
                  <a:cubicBezTo>
                    <a:pt x="860167" y="107738"/>
                    <a:pt x="838786" y="99185"/>
                    <a:pt x="821680" y="107738"/>
                  </a:cubicBezTo>
                  <a:lnTo>
                    <a:pt x="659178" y="176160"/>
                  </a:lnTo>
                  <a:cubicBezTo>
                    <a:pt x="381214" y="159055"/>
                    <a:pt x="154566" y="124844"/>
                    <a:pt x="86144" y="99185"/>
                  </a:cubicBezTo>
                  <a:cubicBezTo>
                    <a:pt x="103250" y="90633"/>
                    <a:pt x="141737" y="77803"/>
                    <a:pt x="205882" y="64974"/>
                  </a:cubicBezTo>
                  <a:cubicBezTo>
                    <a:pt x="222988" y="60698"/>
                    <a:pt x="235817" y="43593"/>
                    <a:pt x="231541" y="26487"/>
                  </a:cubicBezTo>
                  <a:cubicBezTo>
                    <a:pt x="227264" y="9381"/>
                    <a:pt x="210159" y="-3447"/>
                    <a:pt x="193053" y="829"/>
                  </a:cubicBezTo>
                  <a:cubicBezTo>
                    <a:pt x="73315" y="26487"/>
                    <a:pt x="-7936" y="52145"/>
                    <a:pt x="617" y="107738"/>
                  </a:cubicBezTo>
                  <a:cubicBezTo>
                    <a:pt x="4893" y="137673"/>
                    <a:pt x="13446" y="201818"/>
                    <a:pt x="518058" y="240306"/>
                  </a:cubicBezTo>
                  <a:lnTo>
                    <a:pt x="436807" y="274517"/>
                  </a:lnTo>
                  <a:cubicBezTo>
                    <a:pt x="419701" y="283069"/>
                    <a:pt x="411148" y="304451"/>
                    <a:pt x="419701" y="321557"/>
                  </a:cubicBezTo>
                  <a:cubicBezTo>
                    <a:pt x="423977" y="334386"/>
                    <a:pt x="436807" y="342939"/>
                    <a:pt x="449636" y="342939"/>
                  </a:cubicBezTo>
                  <a:cubicBezTo>
                    <a:pt x="453912" y="342939"/>
                    <a:pt x="458188" y="342939"/>
                    <a:pt x="462465" y="338662"/>
                  </a:cubicBezTo>
                  <a:lnTo>
                    <a:pt x="667731" y="248858"/>
                  </a:lnTo>
                  <a:cubicBezTo>
                    <a:pt x="774640" y="253135"/>
                    <a:pt x="885826" y="257411"/>
                    <a:pt x="992735" y="257411"/>
                  </a:cubicBezTo>
                  <a:cubicBezTo>
                    <a:pt x="1163790" y="257411"/>
                    <a:pt x="1322016" y="248858"/>
                    <a:pt x="1454583" y="236029"/>
                  </a:cubicBezTo>
                  <a:cubicBezTo>
                    <a:pt x="1471689" y="236029"/>
                    <a:pt x="1488794" y="218924"/>
                    <a:pt x="1484518" y="197542"/>
                  </a:cubicBezTo>
                  <a:cubicBezTo>
                    <a:pt x="1480241" y="176160"/>
                    <a:pt x="1471689" y="159055"/>
                    <a:pt x="1454583" y="163331"/>
                  </a:cubicBezTo>
                </a:path>
              </a:pathLst>
            </a:custGeom>
            <a:solidFill>
              <a:srgbClr val="FFFFFF"/>
            </a:solidFill>
            <a:ln w="427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A4FF7D0B-BC4A-4D09-B3FE-B80B96404169}"/>
              </a:ext>
            </a:extLst>
          </p:cNvPr>
          <p:cNvSpPr txBox="1"/>
          <p:nvPr/>
        </p:nvSpPr>
        <p:spPr>
          <a:xfrm>
            <a:off x="4785561" y="519053"/>
            <a:ext cx="6094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ain functions</a:t>
            </a:r>
            <a:endParaRPr lang="ja-JP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988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TSQ - Nova Light">
      <a:dk1>
        <a:srgbClr val="999999"/>
      </a:dk1>
      <a:lt1>
        <a:srgbClr val="FFFFFF"/>
      </a:lt1>
      <a:dk2>
        <a:srgbClr val="363E48"/>
      </a:dk2>
      <a:lt2>
        <a:srgbClr val="FFFFFF"/>
      </a:lt2>
      <a:accent1>
        <a:srgbClr val="138FFB"/>
      </a:accent1>
      <a:accent2>
        <a:srgbClr val="30A2FB"/>
      </a:accent2>
      <a:accent3>
        <a:srgbClr val="5BB6FB"/>
      </a:accent3>
      <a:accent4>
        <a:srgbClr val="8EC5FA"/>
      </a:accent4>
      <a:accent5>
        <a:srgbClr val="B6DFFB"/>
      </a:accent5>
      <a:accent6>
        <a:srgbClr val="C5E2F0"/>
      </a:accent6>
      <a:hlink>
        <a:srgbClr val="F6F7F6"/>
      </a:hlink>
      <a:folHlink>
        <a:srgbClr val="FFC00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883</TotalTime>
  <Words>536</Words>
  <Application>Microsoft Office PowerPoint</Application>
  <PresentationFormat>ワイド画面</PresentationFormat>
  <Paragraphs>82</Paragraphs>
  <Slides>8</Slides>
  <Notes>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2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23" baseType="lpstr">
      <vt:lpstr>Myriad Pro</vt:lpstr>
      <vt:lpstr>游ゴシック</vt:lpstr>
      <vt:lpstr>游ゴシック Light</vt:lpstr>
      <vt:lpstr>Arial</vt:lpstr>
      <vt:lpstr>Calibri</vt:lpstr>
      <vt:lpstr>Calibri Light</vt:lpstr>
      <vt:lpstr>Montserrat</vt:lpstr>
      <vt:lpstr>Montserrat ExtraLight</vt:lpstr>
      <vt:lpstr>Montserrat Light</vt:lpstr>
      <vt:lpstr>Montserrat SemiBold</vt:lpstr>
      <vt:lpstr>Montserrat Thin</vt:lpstr>
      <vt:lpstr>Roboto</vt:lpstr>
      <vt:lpstr>Office テーマ</vt:lpstr>
      <vt:lpstr>Office Theme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RepoFreeDraw_Overview_en</dc:title>
  <dc:creator>Takashi MIZUNO</dc:creator>
  <cp:lastModifiedBy>滝沢 智恵子</cp:lastModifiedBy>
  <cp:revision>210</cp:revision>
  <cp:lastPrinted>2020-07-27T08:09:36Z</cp:lastPrinted>
  <dcterms:created xsi:type="dcterms:W3CDTF">2019-04-12T06:34:25Z</dcterms:created>
  <dcterms:modified xsi:type="dcterms:W3CDTF">2022-05-25T02:37:11Z</dcterms:modified>
</cp:coreProperties>
</file>